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100" r:id="rId50"/>
    <p:sldMasterId id="2147484156" r:id="rId51"/>
  </p:sldMasterIdLst>
  <p:notesMasterIdLst>
    <p:notesMasterId r:id="rId60"/>
  </p:notesMasterIdLst>
  <p:handoutMasterIdLst>
    <p:handoutMasterId r:id="rId61"/>
  </p:handoutMasterIdLst>
  <p:sldIdLst>
    <p:sldId id="256" r:id="rId52"/>
    <p:sldId id="319" r:id="rId53"/>
    <p:sldId id="320" r:id="rId54"/>
    <p:sldId id="330" r:id="rId55"/>
    <p:sldId id="329" r:id="rId56"/>
    <p:sldId id="331" r:id="rId57"/>
    <p:sldId id="332" r:id="rId58"/>
    <p:sldId id="270" r:id="rId59"/>
  </p:sldIdLst>
  <p:sldSz cx="12198350" cy="6858000"/>
  <p:notesSz cx="6400800" cy="11731625"/>
  <p:custDataLst>
    <p:tags r:id="rId6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90">
          <p15:clr>
            <a:srgbClr val="A4A3A4"/>
          </p15:clr>
        </p15:guide>
        <p15:guide id="2" orient="horz" pos="933">
          <p15:clr>
            <a:srgbClr val="A4A3A4"/>
          </p15:clr>
        </p15:guide>
        <p15:guide id="3" orient="horz" pos="679">
          <p15:clr>
            <a:srgbClr val="A4A3A4"/>
          </p15:clr>
        </p15:guide>
        <p15:guide id="4" orient="horz" pos="264">
          <p15:clr>
            <a:srgbClr val="A4A3A4"/>
          </p15:clr>
        </p15:guide>
        <p15:guide id="5" orient="horz" pos="2412">
          <p15:clr>
            <a:srgbClr val="A4A3A4"/>
          </p15:clr>
        </p15:guide>
        <p15:guide id="6" orient="horz" pos="2329">
          <p15:clr>
            <a:srgbClr val="A4A3A4"/>
          </p15:clr>
        </p15:guide>
        <p15:guide id="7" orient="horz" pos="2498">
          <p15:clr>
            <a:srgbClr val="A4A3A4"/>
          </p15:clr>
        </p15:guide>
        <p15:guide id="8" pos="7380" userDrawn="1">
          <p15:clr>
            <a:srgbClr val="A4A3A4"/>
          </p15:clr>
        </p15:guide>
        <p15:guide id="9" pos="293">
          <p15:clr>
            <a:srgbClr val="A4A3A4"/>
          </p15:clr>
        </p15:guide>
        <p15:guide id="10" pos="5543" userDrawn="1">
          <p15:clr>
            <a:srgbClr val="A4A3A4"/>
          </p15:clr>
        </p15:guide>
        <p15:guide id="11" pos="5717">
          <p15:clr>
            <a:srgbClr val="A4A3A4"/>
          </p15:clr>
        </p15:guide>
        <p15:guide id="12" pos="3842" userDrawn="1">
          <p15:clr>
            <a:srgbClr val="A4A3A4"/>
          </p15:clr>
        </p15:guide>
        <p15:guide id="13" pos="3252">
          <p15:clr>
            <a:srgbClr val="A4A3A4"/>
          </p15:clr>
        </p15:guide>
        <p15:guide id="14" pos="3421">
          <p15:clr>
            <a:srgbClr val="A4A3A4"/>
          </p15:clr>
        </p15:guide>
        <p15:guide id="15" pos="4263">
          <p15:clr>
            <a:srgbClr val="A4A3A4"/>
          </p15:clr>
        </p15:guide>
        <p15:guide id="16" pos="4432">
          <p15:clr>
            <a:srgbClr val="A4A3A4"/>
          </p15:clr>
        </p15:guide>
        <p15:guide id="17" pos="3757">
          <p15:clr>
            <a:srgbClr val="A4A3A4"/>
          </p15:clr>
        </p15:guide>
        <p15:guide id="18" pos="392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696">
          <p15:clr>
            <a:srgbClr val="A4A3A4"/>
          </p15:clr>
        </p15:guide>
        <p15:guide id="2" pos="201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FDFD"/>
    <a:srgbClr val="919699"/>
    <a:srgbClr val="227CC6"/>
    <a:srgbClr val="880822"/>
    <a:srgbClr val="CBA021"/>
    <a:srgbClr val="697075"/>
    <a:srgbClr val="C6C9CC"/>
    <a:srgbClr val="6095D3"/>
    <a:srgbClr val="90B3E2"/>
    <a:srgbClr val="BACF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4A72F2A-C200-4BB1-BC84-A5F9D549BD57}" v="715" dt="2023-03-29T09:54:17.677"/>
    <p1510:client id="{3F335D61-1C61-41AB-89C7-B98A2603943A}" v="142" dt="2023-03-29T09:39:37.765"/>
    <p1510:client id="{FCDCC1C6-0912-A647-909D-27BA138ACA34}" v="233" dt="2023-03-29T09:58:46.8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055" autoAdjust="0"/>
    <p:restoredTop sz="85094" autoAdjust="0"/>
  </p:normalViewPr>
  <p:slideViewPr>
    <p:cSldViewPr snapToGrid="0" snapToObjects="1" showGuides="1">
      <p:cViewPr varScale="1">
        <p:scale>
          <a:sx n="101" d="100"/>
          <a:sy n="101" d="100"/>
        </p:scale>
        <p:origin x="1544" y="280"/>
      </p:cViewPr>
      <p:guideLst>
        <p:guide orient="horz" pos="3890"/>
        <p:guide orient="horz" pos="933"/>
        <p:guide orient="horz" pos="679"/>
        <p:guide orient="horz" pos="264"/>
        <p:guide orient="horz" pos="2412"/>
        <p:guide orient="horz" pos="2329"/>
        <p:guide orient="horz" pos="2498"/>
        <p:guide pos="7380"/>
        <p:guide pos="293"/>
        <p:guide pos="5543"/>
        <p:guide pos="5717"/>
        <p:guide pos="3842"/>
        <p:guide pos="3252"/>
        <p:guide pos="3421"/>
        <p:guide pos="4263"/>
        <p:guide pos="4432"/>
        <p:guide pos="3757"/>
        <p:guide pos="3927"/>
      </p:guideLst>
    </p:cSldViewPr>
  </p:slideViewPr>
  <p:outlineViewPr>
    <p:cViewPr>
      <p:scale>
        <a:sx n="33" d="100"/>
        <a:sy n="33" d="100"/>
      </p:scale>
      <p:origin x="0" y="472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11577"/>
    </p:cViewPr>
  </p:sorterViewPr>
  <p:notesViewPr>
    <p:cSldViewPr snapToGrid="0" snapToObjects="1" showGuides="1">
      <p:cViewPr varScale="1">
        <p:scale>
          <a:sx n="97" d="100"/>
          <a:sy n="97" d="100"/>
        </p:scale>
        <p:origin x="-5610" y="-81"/>
      </p:cViewPr>
      <p:guideLst>
        <p:guide orient="horz" pos="3696"/>
        <p:guide pos="20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50" Type="http://schemas.openxmlformats.org/officeDocument/2006/relationships/slideMaster" Target="slideMasters/slideMaster1.xml"/><Relationship Id="rId55" Type="http://schemas.openxmlformats.org/officeDocument/2006/relationships/slide" Target="slides/slide4.xml"/><Relationship Id="rId63" Type="http://schemas.openxmlformats.org/officeDocument/2006/relationships/presProps" Target="presProps.xml"/><Relationship Id="rId68" Type="http://schemas.microsoft.com/office/2015/10/relationships/revisionInfo" Target="revisionInfo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53" Type="http://schemas.openxmlformats.org/officeDocument/2006/relationships/slide" Target="slides/slide2.xml"/><Relationship Id="rId58" Type="http://schemas.openxmlformats.org/officeDocument/2006/relationships/slide" Target="slides/slide7.xml"/><Relationship Id="rId66" Type="http://schemas.openxmlformats.org/officeDocument/2006/relationships/tableStyles" Target="tableStyles.xml"/><Relationship Id="rId5" Type="http://schemas.openxmlformats.org/officeDocument/2006/relationships/customXml" Target="../customXml/item5.xml"/><Relationship Id="rId61" Type="http://schemas.openxmlformats.org/officeDocument/2006/relationships/handoutMaster" Target="handoutMasters/handoutMaster1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56" Type="http://schemas.openxmlformats.org/officeDocument/2006/relationships/slide" Target="slides/slide5.xml"/><Relationship Id="rId64" Type="http://schemas.openxmlformats.org/officeDocument/2006/relationships/viewProps" Target="viewProps.xml"/><Relationship Id="rId8" Type="http://schemas.openxmlformats.org/officeDocument/2006/relationships/customXml" Target="../customXml/item8.xml"/><Relationship Id="rId51" Type="http://schemas.openxmlformats.org/officeDocument/2006/relationships/slideMaster" Target="slideMasters/slideMaster2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slide" Target="slides/slide8.xml"/><Relationship Id="rId67" Type="http://schemas.microsoft.com/office/2016/11/relationships/changesInfo" Target="changesInfos/changesInfo1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slide" Target="slides/slide3.xml"/><Relationship Id="rId62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slide" Target="slides/slide6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slide" Target="slides/slide1.xml"/><Relationship Id="rId60" Type="http://schemas.openxmlformats.org/officeDocument/2006/relationships/notesMaster" Target="notesMasters/notesMaster1.xml"/><Relationship Id="rId65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ören Schütze" userId="5c46752fb9f21316" providerId="Windows Live" clId="Web-{24A72F2A-C200-4BB1-BC84-A5F9D549BD57}"/>
    <pc:docChg chg="addSld modSld">
      <pc:chgData name="Sören Schütze" userId="5c46752fb9f21316" providerId="Windows Live" clId="Web-{24A72F2A-C200-4BB1-BC84-A5F9D549BD57}" dt="2023-03-29T09:54:17.677" v="711" actId="1076"/>
      <pc:docMkLst>
        <pc:docMk/>
      </pc:docMkLst>
      <pc:sldChg chg="addSp modSp">
        <pc:chgData name="Sören Schütze" userId="5c46752fb9f21316" providerId="Windows Live" clId="Web-{24A72F2A-C200-4BB1-BC84-A5F9D549BD57}" dt="2023-03-29T09:54:17.677" v="711" actId="1076"/>
        <pc:sldMkLst>
          <pc:docMk/>
          <pc:sldMk cId="607910445" sldId="331"/>
        </pc:sldMkLst>
        <pc:spChg chg="mod">
          <ac:chgData name="Sören Schütze" userId="5c46752fb9f21316" providerId="Windows Live" clId="Web-{24A72F2A-C200-4BB1-BC84-A5F9D549BD57}" dt="2023-03-29T09:46:05.664" v="283" actId="20577"/>
          <ac:spMkLst>
            <pc:docMk/>
            <pc:sldMk cId="607910445" sldId="331"/>
            <ac:spMk id="3" creationId="{A47EB37E-26AD-D8B9-8735-4FE985F2F68F}"/>
          </ac:spMkLst>
        </pc:spChg>
        <pc:picChg chg="add mod modCrop">
          <ac:chgData name="Sören Schütze" userId="5c46752fb9f21316" providerId="Windows Live" clId="Web-{24A72F2A-C200-4BB1-BC84-A5F9D549BD57}" dt="2023-03-29T09:54:17.677" v="711" actId="1076"/>
          <ac:picMkLst>
            <pc:docMk/>
            <pc:sldMk cId="607910445" sldId="331"/>
            <ac:picMk id="5" creationId="{3865EAED-A052-95A3-A07F-6AA98074787E}"/>
          </ac:picMkLst>
        </pc:picChg>
      </pc:sldChg>
      <pc:sldChg chg="modSp new">
        <pc:chgData name="Sören Schütze" userId="5c46752fb9f21316" providerId="Windows Live" clId="Web-{24A72F2A-C200-4BB1-BC84-A5F9D549BD57}" dt="2023-03-29T09:53:00.628" v="703" actId="20577"/>
        <pc:sldMkLst>
          <pc:docMk/>
          <pc:sldMk cId="413371073" sldId="332"/>
        </pc:sldMkLst>
        <pc:spChg chg="mod">
          <ac:chgData name="Sören Schütze" userId="5c46752fb9f21316" providerId="Windows Live" clId="Web-{24A72F2A-C200-4BB1-BC84-A5F9D549BD57}" dt="2023-03-29T09:50:58.234" v="692" actId="20577"/>
          <ac:spMkLst>
            <pc:docMk/>
            <pc:sldMk cId="413371073" sldId="332"/>
            <ac:spMk id="2" creationId="{57A91A6D-7652-DA68-E834-E6DBC7CB1C58}"/>
          </ac:spMkLst>
        </pc:spChg>
        <pc:spChg chg="mod">
          <ac:chgData name="Sören Schütze" userId="5c46752fb9f21316" providerId="Windows Live" clId="Web-{24A72F2A-C200-4BB1-BC84-A5F9D549BD57}" dt="2023-03-29T09:53:00.628" v="703" actId="20577"/>
          <ac:spMkLst>
            <pc:docMk/>
            <pc:sldMk cId="413371073" sldId="332"/>
            <ac:spMk id="3" creationId="{447ACEE8-8B18-A071-DD6F-877E8139A850}"/>
          </ac:spMkLst>
        </pc:spChg>
      </pc:sldChg>
    </pc:docChg>
  </pc:docChgLst>
  <pc:docChgLst>
    <pc:chgData name="Sören Schütze" userId="5c46752fb9f21316" providerId="Windows Live" clId="Web-{3F335D61-1C61-41AB-89C7-B98A2603943A}"/>
    <pc:docChg chg="addSld modSld">
      <pc:chgData name="Sören Schütze" userId="5c46752fb9f21316" providerId="Windows Live" clId="Web-{3F335D61-1C61-41AB-89C7-B98A2603943A}" dt="2023-03-29T09:39:37.765" v="139" actId="20577"/>
      <pc:docMkLst>
        <pc:docMk/>
      </pc:docMkLst>
      <pc:sldChg chg="modSp new">
        <pc:chgData name="Sören Schütze" userId="5c46752fb9f21316" providerId="Windows Live" clId="Web-{3F335D61-1C61-41AB-89C7-B98A2603943A}" dt="2023-03-29T09:39:37.765" v="139" actId="20577"/>
        <pc:sldMkLst>
          <pc:docMk/>
          <pc:sldMk cId="607910445" sldId="331"/>
        </pc:sldMkLst>
        <pc:spChg chg="mod">
          <ac:chgData name="Sören Schütze" userId="5c46752fb9f21316" providerId="Windows Live" clId="Web-{3F335D61-1C61-41AB-89C7-B98A2603943A}" dt="2023-03-29T09:34:35.805" v="33" actId="20577"/>
          <ac:spMkLst>
            <pc:docMk/>
            <pc:sldMk cId="607910445" sldId="331"/>
            <ac:spMk id="2" creationId="{4527CFA8-4C84-0AC9-7D91-ED8574164D02}"/>
          </ac:spMkLst>
        </pc:spChg>
        <pc:spChg chg="mod">
          <ac:chgData name="Sören Schütze" userId="5c46752fb9f21316" providerId="Windows Live" clId="Web-{3F335D61-1C61-41AB-89C7-B98A2603943A}" dt="2023-03-29T09:39:37.765" v="139" actId="20577"/>
          <ac:spMkLst>
            <pc:docMk/>
            <pc:sldMk cId="607910445" sldId="331"/>
            <ac:spMk id="3" creationId="{A47EB37E-26AD-D8B9-8735-4FE985F2F68F}"/>
          </ac:spMkLst>
        </pc:spChg>
      </pc:sldChg>
    </pc:docChg>
  </pc:docChgLst>
  <pc:docChgLst>
    <pc:chgData name="Hendrik Reuling" userId="3be373a3bfd5b19d" providerId="LiveId" clId="{FCDCC1C6-0912-A647-909D-27BA138ACA34}"/>
    <pc:docChg chg="undo custSel addSld delSld modSld delMainMaster modMainMaster">
      <pc:chgData name="Hendrik Reuling" userId="3be373a3bfd5b19d" providerId="LiveId" clId="{FCDCC1C6-0912-A647-909D-27BA138ACA34}" dt="2023-03-29T10:51:14.799" v="2235" actId="20577"/>
      <pc:docMkLst>
        <pc:docMk/>
      </pc:docMkLst>
      <pc:sldChg chg="modSp mod">
        <pc:chgData name="Hendrik Reuling" userId="3be373a3bfd5b19d" providerId="LiveId" clId="{FCDCC1C6-0912-A647-909D-27BA138ACA34}" dt="2023-03-28T16:54:30.465" v="1983" actId="20577"/>
        <pc:sldMkLst>
          <pc:docMk/>
          <pc:sldMk cId="0" sldId="256"/>
        </pc:sldMkLst>
        <pc:spChg chg="mod">
          <ac:chgData name="Hendrik Reuling" userId="3be373a3bfd5b19d" providerId="LiveId" clId="{FCDCC1C6-0912-A647-909D-27BA138ACA34}" dt="2023-03-28T16:54:30.465" v="1983" actId="20577"/>
          <ac:spMkLst>
            <pc:docMk/>
            <pc:sldMk cId="0" sldId="256"/>
            <ac:spMk id="6147" creationId="{00000000-0000-0000-0000-000000000000}"/>
          </ac:spMkLst>
        </pc:spChg>
        <pc:picChg chg="mod modCrop">
          <ac:chgData name="Hendrik Reuling" userId="3be373a3bfd5b19d" providerId="LiveId" clId="{FCDCC1C6-0912-A647-909D-27BA138ACA34}" dt="2023-03-24T15:01:16.373" v="144" actId="18131"/>
          <ac:picMkLst>
            <pc:docMk/>
            <pc:sldMk cId="0" sldId="256"/>
            <ac:picMk id="3" creationId="{00000000-0000-0000-0000-000000000000}"/>
          </ac:picMkLst>
        </pc:picChg>
      </pc:sldChg>
      <pc:sldChg chg="modSp mod">
        <pc:chgData name="Hendrik Reuling" userId="3be373a3bfd5b19d" providerId="LiveId" clId="{FCDCC1C6-0912-A647-909D-27BA138ACA34}" dt="2023-03-29T10:51:14.799" v="2235" actId="20577"/>
        <pc:sldMkLst>
          <pc:docMk/>
          <pc:sldMk cId="3303645355" sldId="319"/>
        </pc:sldMkLst>
        <pc:spChg chg="mod">
          <ac:chgData name="Hendrik Reuling" userId="3be373a3bfd5b19d" providerId="LiveId" clId="{FCDCC1C6-0912-A647-909D-27BA138ACA34}" dt="2023-03-29T10:51:14.799" v="2235" actId="20577"/>
          <ac:spMkLst>
            <pc:docMk/>
            <pc:sldMk cId="3303645355" sldId="319"/>
            <ac:spMk id="3" creationId="{00FD4E35-C64D-4900-9A6C-3FC3842105EA}"/>
          </ac:spMkLst>
        </pc:spChg>
      </pc:sldChg>
      <pc:sldChg chg="delSp modSp mod">
        <pc:chgData name="Hendrik Reuling" userId="3be373a3bfd5b19d" providerId="LiveId" clId="{FCDCC1C6-0912-A647-909D-27BA138ACA34}" dt="2023-03-29T09:43:56.456" v="2067" actId="404"/>
        <pc:sldMkLst>
          <pc:docMk/>
          <pc:sldMk cId="3511947589" sldId="320"/>
        </pc:sldMkLst>
        <pc:spChg chg="mod">
          <ac:chgData name="Hendrik Reuling" userId="3be373a3bfd5b19d" providerId="LiveId" clId="{FCDCC1C6-0912-A647-909D-27BA138ACA34}" dt="2023-03-29T09:42:40.854" v="1984" actId="20577"/>
          <ac:spMkLst>
            <pc:docMk/>
            <pc:sldMk cId="3511947589" sldId="320"/>
            <ac:spMk id="2" creationId="{6ABDD1AC-FFCE-427C-ADE0-28C5A972EBDD}"/>
          </ac:spMkLst>
        </pc:spChg>
        <pc:spChg chg="mod">
          <ac:chgData name="Hendrik Reuling" userId="3be373a3bfd5b19d" providerId="LiveId" clId="{FCDCC1C6-0912-A647-909D-27BA138ACA34}" dt="2023-03-29T09:43:56.456" v="2067" actId="404"/>
          <ac:spMkLst>
            <pc:docMk/>
            <pc:sldMk cId="3511947589" sldId="320"/>
            <ac:spMk id="3" creationId="{229CE55A-F1B8-4EC2-A556-2EC71BC8638C}"/>
          </ac:spMkLst>
        </pc:spChg>
        <pc:picChg chg="del">
          <ac:chgData name="Hendrik Reuling" userId="3be373a3bfd5b19d" providerId="LiveId" clId="{FCDCC1C6-0912-A647-909D-27BA138ACA34}" dt="2023-03-24T15:05:28.843" v="239" actId="478"/>
          <ac:picMkLst>
            <pc:docMk/>
            <pc:sldMk cId="3511947589" sldId="320"/>
            <ac:picMk id="6" creationId="{BA7053B5-8E7E-403E-B977-4283DE78A103}"/>
          </ac:picMkLst>
        </pc:picChg>
      </pc:sldChg>
      <pc:sldChg chg="del">
        <pc:chgData name="Hendrik Reuling" userId="3be373a3bfd5b19d" providerId="LiveId" clId="{FCDCC1C6-0912-A647-909D-27BA138ACA34}" dt="2023-03-24T15:38:21.204" v="1689" actId="2696"/>
        <pc:sldMkLst>
          <pc:docMk/>
          <pc:sldMk cId="1532156595" sldId="321"/>
        </pc:sldMkLst>
      </pc:sldChg>
      <pc:sldChg chg="del">
        <pc:chgData name="Hendrik Reuling" userId="3be373a3bfd5b19d" providerId="LiveId" clId="{FCDCC1C6-0912-A647-909D-27BA138ACA34}" dt="2023-03-24T15:38:21.204" v="1689" actId="2696"/>
        <pc:sldMkLst>
          <pc:docMk/>
          <pc:sldMk cId="2405736237" sldId="322"/>
        </pc:sldMkLst>
      </pc:sldChg>
      <pc:sldChg chg="del">
        <pc:chgData name="Hendrik Reuling" userId="3be373a3bfd5b19d" providerId="LiveId" clId="{FCDCC1C6-0912-A647-909D-27BA138ACA34}" dt="2023-03-24T15:38:21.204" v="1689" actId="2696"/>
        <pc:sldMkLst>
          <pc:docMk/>
          <pc:sldMk cId="3004651638" sldId="323"/>
        </pc:sldMkLst>
      </pc:sldChg>
      <pc:sldChg chg="del">
        <pc:chgData name="Hendrik Reuling" userId="3be373a3bfd5b19d" providerId="LiveId" clId="{FCDCC1C6-0912-A647-909D-27BA138ACA34}" dt="2023-03-24T15:38:21.204" v="1689" actId="2696"/>
        <pc:sldMkLst>
          <pc:docMk/>
          <pc:sldMk cId="1339301866" sldId="324"/>
        </pc:sldMkLst>
      </pc:sldChg>
      <pc:sldChg chg="del">
        <pc:chgData name="Hendrik Reuling" userId="3be373a3bfd5b19d" providerId="LiveId" clId="{FCDCC1C6-0912-A647-909D-27BA138ACA34}" dt="2023-03-24T15:38:21.204" v="1689" actId="2696"/>
        <pc:sldMkLst>
          <pc:docMk/>
          <pc:sldMk cId="572429603" sldId="325"/>
        </pc:sldMkLst>
      </pc:sldChg>
      <pc:sldChg chg="del">
        <pc:chgData name="Hendrik Reuling" userId="3be373a3bfd5b19d" providerId="LiveId" clId="{FCDCC1C6-0912-A647-909D-27BA138ACA34}" dt="2023-03-24T15:38:21.204" v="1689" actId="2696"/>
        <pc:sldMkLst>
          <pc:docMk/>
          <pc:sldMk cId="3396640430" sldId="326"/>
        </pc:sldMkLst>
      </pc:sldChg>
      <pc:sldChg chg="del">
        <pc:chgData name="Hendrik Reuling" userId="3be373a3bfd5b19d" providerId="LiveId" clId="{FCDCC1C6-0912-A647-909D-27BA138ACA34}" dt="2023-03-24T15:38:21.204" v="1689" actId="2696"/>
        <pc:sldMkLst>
          <pc:docMk/>
          <pc:sldMk cId="3769202798" sldId="327"/>
        </pc:sldMkLst>
      </pc:sldChg>
      <pc:sldChg chg="del">
        <pc:chgData name="Hendrik Reuling" userId="3be373a3bfd5b19d" providerId="LiveId" clId="{FCDCC1C6-0912-A647-909D-27BA138ACA34}" dt="2023-03-24T15:38:21.204" v="1689" actId="2696"/>
        <pc:sldMkLst>
          <pc:docMk/>
          <pc:sldMk cId="4189301922" sldId="328"/>
        </pc:sldMkLst>
      </pc:sldChg>
      <pc:sldChg chg="modSp add mod">
        <pc:chgData name="Hendrik Reuling" userId="3be373a3bfd5b19d" providerId="LiveId" clId="{FCDCC1C6-0912-A647-909D-27BA138ACA34}" dt="2023-03-29T09:44:51.143" v="2068" actId="20577"/>
        <pc:sldMkLst>
          <pc:docMk/>
          <pc:sldMk cId="4152412695" sldId="329"/>
        </pc:sldMkLst>
        <pc:spChg chg="mod">
          <ac:chgData name="Hendrik Reuling" userId="3be373a3bfd5b19d" providerId="LiveId" clId="{FCDCC1C6-0912-A647-909D-27BA138ACA34}" dt="2023-03-29T09:44:51.143" v="2068" actId="20577"/>
          <ac:spMkLst>
            <pc:docMk/>
            <pc:sldMk cId="4152412695" sldId="329"/>
            <ac:spMk id="2" creationId="{6ABDD1AC-FFCE-427C-ADE0-28C5A972EBDD}"/>
          </ac:spMkLst>
        </pc:spChg>
        <pc:spChg chg="mod">
          <ac:chgData name="Hendrik Reuling" userId="3be373a3bfd5b19d" providerId="LiveId" clId="{FCDCC1C6-0912-A647-909D-27BA138ACA34}" dt="2023-03-24T15:37:58.032" v="1688" actId="20577"/>
          <ac:spMkLst>
            <pc:docMk/>
            <pc:sldMk cId="4152412695" sldId="329"/>
            <ac:spMk id="3" creationId="{229CE55A-F1B8-4EC2-A556-2EC71BC8638C}"/>
          </ac:spMkLst>
        </pc:spChg>
      </pc:sldChg>
      <pc:sldChg chg="modSp add mod">
        <pc:chgData name="Hendrik Reuling" userId="3be373a3bfd5b19d" providerId="LiveId" clId="{FCDCC1C6-0912-A647-909D-27BA138ACA34}" dt="2023-03-29T09:44:55.724" v="2069" actId="20577"/>
        <pc:sldMkLst>
          <pc:docMk/>
          <pc:sldMk cId="21745325" sldId="330"/>
        </pc:sldMkLst>
        <pc:spChg chg="mod">
          <ac:chgData name="Hendrik Reuling" userId="3be373a3bfd5b19d" providerId="LiveId" clId="{FCDCC1C6-0912-A647-909D-27BA138ACA34}" dt="2023-03-29T09:44:55.724" v="2069" actId="20577"/>
          <ac:spMkLst>
            <pc:docMk/>
            <pc:sldMk cId="21745325" sldId="330"/>
            <ac:spMk id="2" creationId="{6ABDD1AC-FFCE-427C-ADE0-28C5A972EBDD}"/>
          </ac:spMkLst>
        </pc:spChg>
      </pc:sldChg>
      <pc:sldChg chg="modSp mod">
        <pc:chgData name="Hendrik Reuling" userId="3be373a3bfd5b19d" providerId="LiveId" clId="{FCDCC1C6-0912-A647-909D-27BA138ACA34}" dt="2023-03-29T10:50:53.362" v="2207" actId="20577"/>
        <pc:sldMkLst>
          <pc:docMk/>
          <pc:sldMk cId="413371073" sldId="332"/>
        </pc:sldMkLst>
        <pc:spChg chg="mod">
          <ac:chgData name="Hendrik Reuling" userId="3be373a3bfd5b19d" providerId="LiveId" clId="{FCDCC1C6-0912-A647-909D-27BA138ACA34}" dt="2023-03-29T10:50:53.362" v="2207" actId="20577"/>
          <ac:spMkLst>
            <pc:docMk/>
            <pc:sldMk cId="413371073" sldId="332"/>
            <ac:spMk id="2" creationId="{57A91A6D-7652-DA68-E834-E6DBC7CB1C58}"/>
          </ac:spMkLst>
        </pc:spChg>
      </pc:sldChg>
      <pc:sldMasterChg chg="del delSldLayout">
        <pc:chgData name="Hendrik Reuling" userId="3be373a3bfd5b19d" providerId="LiveId" clId="{FCDCC1C6-0912-A647-909D-27BA138ACA34}" dt="2023-03-24T15:38:21.204" v="1689" actId="2696"/>
        <pc:sldMasterMkLst>
          <pc:docMk/>
          <pc:sldMasterMk cId="0" sldId="2147484081"/>
        </pc:sldMasterMkLst>
        <pc:sldLayoutChg chg="del">
          <pc:chgData name="Hendrik Reuling" userId="3be373a3bfd5b19d" providerId="LiveId" clId="{FCDCC1C6-0912-A647-909D-27BA138ACA34}" dt="2023-03-24T15:38:21.204" v="1689" actId="2696"/>
          <pc:sldLayoutMkLst>
            <pc:docMk/>
            <pc:sldMasterMk cId="0" sldId="2147484081"/>
            <pc:sldLayoutMk cId="3834674178" sldId="2147484134"/>
          </pc:sldLayoutMkLst>
        </pc:sldLayoutChg>
        <pc:sldLayoutChg chg="del">
          <pc:chgData name="Hendrik Reuling" userId="3be373a3bfd5b19d" providerId="LiveId" clId="{FCDCC1C6-0912-A647-909D-27BA138ACA34}" dt="2023-03-24T15:38:21.204" v="1689" actId="2696"/>
          <pc:sldLayoutMkLst>
            <pc:docMk/>
            <pc:sldMasterMk cId="0" sldId="2147484081"/>
            <pc:sldLayoutMk cId="1708998347" sldId="2147484144"/>
          </pc:sldLayoutMkLst>
        </pc:sldLayoutChg>
        <pc:sldLayoutChg chg="del">
          <pc:chgData name="Hendrik Reuling" userId="3be373a3bfd5b19d" providerId="LiveId" clId="{FCDCC1C6-0912-A647-909D-27BA138ACA34}" dt="2023-03-24T15:38:21.204" v="1689" actId="2696"/>
          <pc:sldLayoutMkLst>
            <pc:docMk/>
            <pc:sldMasterMk cId="0" sldId="2147484081"/>
            <pc:sldLayoutMk cId="2023546553" sldId="2147484145"/>
          </pc:sldLayoutMkLst>
        </pc:sldLayoutChg>
        <pc:sldLayoutChg chg="del">
          <pc:chgData name="Hendrik Reuling" userId="3be373a3bfd5b19d" providerId="LiveId" clId="{FCDCC1C6-0912-A647-909D-27BA138ACA34}" dt="2023-03-24T15:38:21.204" v="1689" actId="2696"/>
          <pc:sldLayoutMkLst>
            <pc:docMk/>
            <pc:sldMasterMk cId="0" sldId="2147484081"/>
            <pc:sldLayoutMk cId="2183149349" sldId="2147484146"/>
          </pc:sldLayoutMkLst>
        </pc:sldLayoutChg>
        <pc:sldLayoutChg chg="del">
          <pc:chgData name="Hendrik Reuling" userId="3be373a3bfd5b19d" providerId="LiveId" clId="{FCDCC1C6-0912-A647-909D-27BA138ACA34}" dt="2023-03-24T15:38:21.204" v="1689" actId="2696"/>
          <pc:sldLayoutMkLst>
            <pc:docMk/>
            <pc:sldMasterMk cId="0" sldId="2147484081"/>
            <pc:sldLayoutMk cId="2799673841" sldId="2147484152"/>
          </pc:sldLayoutMkLst>
        </pc:sldLayoutChg>
      </pc:sldMasterChg>
      <pc:sldMasterChg chg="modSp mod">
        <pc:chgData name="Hendrik Reuling" userId="3be373a3bfd5b19d" providerId="LiveId" clId="{FCDCC1C6-0912-A647-909D-27BA138ACA34}" dt="2023-03-29T09:58:46.809" v="2205" actId="20577"/>
        <pc:sldMasterMkLst>
          <pc:docMk/>
          <pc:sldMasterMk cId="0" sldId="2147484100"/>
        </pc:sldMasterMkLst>
        <pc:spChg chg="mod">
          <ac:chgData name="Hendrik Reuling" userId="3be373a3bfd5b19d" providerId="LiveId" clId="{FCDCC1C6-0912-A647-909D-27BA138ACA34}" dt="2023-03-29T09:58:46.809" v="2205" actId="20577"/>
          <ac:spMkLst>
            <pc:docMk/>
            <pc:sldMasterMk cId="0" sldId="2147484100"/>
            <ac:spMk id="71" creationId="{00000000-0000-0000-0000-000000000000}"/>
          </ac:spMkLst>
        </pc:sp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6"/>
          <p:cNvSpPr>
            <a:spLocks noChangeArrowheads="1"/>
          </p:cNvSpPr>
          <p:nvPr/>
        </p:nvSpPr>
        <p:spPr bwMode="auto">
          <a:xfrm>
            <a:off x="0" y="0"/>
            <a:ext cx="6400800" cy="800100"/>
          </a:xfrm>
          <a:prstGeom prst="rect">
            <a:avLst/>
          </a:prstGeom>
          <a:solidFill>
            <a:srgbClr val="879BA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1" tIns="45715" rIns="91431" bIns="45715" anchor="ctr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eaLnBrk="1" hangingPunct="1">
              <a:defRPr/>
            </a:pPr>
            <a:endParaRPr lang="de-DE" alt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30525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t" anchorCtr="0" compatLnSpc="1">
            <a:prstTxWarp prst="textNoShape">
              <a:avLst/>
            </a:prstTxWarp>
          </a:bodyPr>
          <a:lstStyle>
            <a:lvl1pPr defTabSz="942880">
              <a:spcBef>
                <a:spcPct val="0"/>
              </a:spcBef>
              <a:defRPr sz="1200">
                <a:solidFill>
                  <a:schemeClr val="bg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470275" y="0"/>
            <a:ext cx="2930525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t" anchorCtr="0" compatLnSpc="1">
            <a:prstTxWarp prst="textNoShape">
              <a:avLst/>
            </a:prstTxWarp>
          </a:bodyPr>
          <a:lstStyle>
            <a:lvl1pPr algn="r" defTabSz="942880">
              <a:spcBef>
                <a:spcPct val="0"/>
              </a:spcBef>
              <a:defRPr sz="1200">
                <a:solidFill>
                  <a:schemeClr val="bg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11098213"/>
            <a:ext cx="2930525" cy="63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b" anchorCtr="0" compatLnSpc="1">
            <a:prstTxWarp prst="textNoShape">
              <a:avLst/>
            </a:prstTxWarp>
          </a:bodyPr>
          <a:lstStyle>
            <a:lvl1pPr defTabSz="94288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470275" y="11098213"/>
            <a:ext cx="2930525" cy="63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b" anchorCtr="0" compatLnSpc="1">
            <a:prstTxWarp prst="textNoShape">
              <a:avLst/>
            </a:prstTxWarp>
          </a:bodyPr>
          <a:lstStyle>
            <a:lvl1pPr algn="r" defTabSz="94288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de-DE"/>
              <a:t>Handzettel </a:t>
            </a:r>
            <a:fld id="{F0F88EF9-1F2D-4D6E-9901-9B111CC3BF3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65091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30525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t" anchorCtr="0" compatLnSpc="1">
            <a:prstTxWarp prst="textNoShape">
              <a:avLst/>
            </a:prstTxWarp>
          </a:bodyPr>
          <a:lstStyle>
            <a:lvl1pPr defTabSz="94288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470275" y="0"/>
            <a:ext cx="2928938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t" anchorCtr="0" compatLnSpc="1">
            <a:prstTxWarp prst="textNoShape">
              <a:avLst/>
            </a:prstTxWarp>
          </a:bodyPr>
          <a:lstStyle>
            <a:lvl1pPr algn="r" defTabSz="94288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709613" y="881063"/>
            <a:ext cx="7820026" cy="43973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14313" y="5527675"/>
            <a:ext cx="5972175" cy="523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11098213"/>
            <a:ext cx="2930525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b" anchorCtr="0" compatLnSpc="1">
            <a:prstTxWarp prst="textNoShape">
              <a:avLst/>
            </a:prstTxWarp>
          </a:bodyPr>
          <a:lstStyle>
            <a:lvl1pPr defTabSz="94288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470275" y="11098213"/>
            <a:ext cx="2928938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b" anchorCtr="0" compatLnSpc="1">
            <a:prstTxWarp prst="textNoShape">
              <a:avLst/>
            </a:prstTxWarp>
          </a:bodyPr>
          <a:lstStyle>
            <a:lvl1pPr algn="r" defTabSz="94288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de-DE"/>
              <a:t>Notizen </a:t>
            </a:r>
            <a:fld id="{7F2578D5-964F-40D5-B2C7-2AFFFBCEA2D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601354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Notizen </a:t>
            </a:r>
            <a:fld id="{7F2578D5-964F-40D5-B2C7-2AFFFBCEA2DD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3705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Marco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2726165-7802-476A-B759-EEA663C51CD6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40717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4" Type="http://schemas.openxmlformats.org/officeDocument/2006/relationships/image" Target="../media/image1.w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4" Type="http://schemas.openxmlformats.org/officeDocument/2006/relationships/image" Target="../media/image1.w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4" Type="http://schemas.openxmlformats.org/officeDocument/2006/relationships/image" Target="../media/image1.w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1.wmf"/><Relationship Id="rId4" Type="http://schemas.microsoft.com/office/2007/relationships/hdphoto" Target="../media/hdphoto1.wdp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1.wmf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1.wmf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2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9.png"/><Relationship Id="rId5" Type="http://schemas.openxmlformats.org/officeDocument/2006/relationships/image" Target="../media/image1.wmf"/><Relationship Id="rId4" Type="http://schemas.openxmlformats.org/officeDocument/2006/relationships/image" Target="../media/image8.jpeg"/><Relationship Id="rId9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9.png"/><Relationship Id="rId5" Type="http://schemas.openxmlformats.org/officeDocument/2006/relationships/image" Target="../media/image1.wmf"/><Relationship Id="rId4" Type="http://schemas.openxmlformats.org/officeDocument/2006/relationships/image" Target="../media/image11.jpeg"/><Relationship Id="rId9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image" Target="../media/image3.png"/><Relationship Id="rId4" Type="http://schemas.openxmlformats.org/officeDocument/2006/relationships/image" Target="../media/image1.w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1.wmf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Variante 1_Bildaus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69107" y="1481138"/>
            <a:ext cx="11257756" cy="29088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noProof="0" dirty="0"/>
              <a:t>Bild durch Klicken auf Symbol hinzufüg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5138" y="4630738"/>
            <a:ext cx="11261725" cy="1544637"/>
          </a:xfrm>
          <a:prstGeom prst="rect">
            <a:avLst/>
          </a:prstGeom>
        </p:spPr>
        <p:txBody>
          <a:bodyPr/>
          <a:lstStyle>
            <a:lvl1pPr>
              <a:defRPr sz="3200" baseline="0">
                <a:solidFill>
                  <a:srgbClr val="227CC6"/>
                </a:solidFill>
              </a:defRPr>
            </a:lvl1pPr>
            <a:lvl2pPr marL="1588" indent="0">
              <a:buFontTx/>
              <a:buNone/>
              <a:defRPr sz="1600" baseline="0">
                <a:solidFill>
                  <a:srgbClr val="697075"/>
                </a:solidFill>
              </a:defRPr>
            </a:lvl2pPr>
          </a:lstStyle>
          <a:p>
            <a:r>
              <a:rPr lang="de-DE" altLang="de-DE" dirty="0"/>
              <a:t>TITEL IN GROSSBUCHSTABEN MAX. ZWEIZEILIG</a:t>
            </a:r>
          </a:p>
        </p:txBody>
      </p:sp>
      <p:pic>
        <p:nvPicPr>
          <p:cNvPr id="9" name="Picture 2" descr="C:\Users\Romen-Agentur\Desktop\FL-Logo-RGB-office.wmf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6000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47">
            <a:extLst>
              <a:ext uri="{FF2B5EF4-FFF2-40B4-BE49-F238E27FC236}">
                <a16:creationId xmlns:a16="http://schemas.microsoft.com/office/drawing/2014/main" id="{6544531D-7A55-4C7F-85CA-E2DA171F8C7D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rgbClr val="69707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913032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und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/>
          <p:cNvSpPr>
            <a:spLocks noGrp="1"/>
          </p:cNvSpPr>
          <p:nvPr>
            <p:ph type="body" sz="quarter" idx="27" hasCustomPrompt="1"/>
          </p:nvPr>
        </p:nvSpPr>
        <p:spPr>
          <a:xfrm>
            <a:off x="463111" y="3774585"/>
            <a:ext cx="2646000" cy="2487959"/>
          </a:xfrm>
          <a:prstGeom prst="rect">
            <a:avLst/>
          </a:prstGeom>
        </p:spPr>
        <p:txBody>
          <a:bodyPr lIns="0" tIns="0" rIns="0" bIns="0"/>
          <a:lstStyle>
            <a:lvl1pPr marL="144000" indent="-144000">
              <a:buClr>
                <a:schemeClr val="tx2"/>
              </a:buClr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</a:defRPr>
            </a:lvl1pPr>
            <a:lvl2pPr>
              <a:buClr>
                <a:srgbClr val="227DC6"/>
              </a:buClr>
              <a:defRPr sz="1600"/>
            </a:lvl2pPr>
            <a:lvl3pPr>
              <a:buClr>
                <a:srgbClr val="227DC6"/>
              </a:buClr>
              <a:defRPr sz="1600"/>
            </a:lvl3pPr>
            <a:lvl4pPr>
              <a:buClr>
                <a:srgbClr val="227DC6"/>
              </a:buClr>
              <a:defRPr sz="1600"/>
            </a:lvl4pPr>
            <a:lvl5pPr>
              <a:buClr>
                <a:srgbClr val="227DC6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4" name="Textplatzhalter 20"/>
          <p:cNvSpPr>
            <a:spLocks noGrp="1"/>
          </p:cNvSpPr>
          <p:nvPr>
            <p:ph type="body" sz="quarter" idx="23"/>
          </p:nvPr>
        </p:nvSpPr>
        <p:spPr>
          <a:xfrm>
            <a:off x="465138" y="2967732"/>
            <a:ext cx="2646000" cy="591318"/>
          </a:xfrm>
          <a:prstGeom prst="rect">
            <a:avLst/>
          </a:prstGeom>
          <a:solidFill>
            <a:srgbClr val="227DC6"/>
          </a:solidFill>
        </p:spPr>
        <p:txBody>
          <a:bodyPr tIns="0" bIns="0" anchor="ctr" anchorCtr="0"/>
          <a:lstStyle>
            <a:lvl1pPr algn="ctr">
              <a:defRPr sz="1600" b="1">
                <a:solidFill>
                  <a:srgbClr val="FFFFFF"/>
                </a:solidFill>
              </a:defRPr>
            </a:lvl1pPr>
            <a:lvl2pPr>
              <a:buClr>
                <a:srgbClr val="227DC6"/>
              </a:buClr>
              <a:defRPr sz="1400"/>
            </a:lvl2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20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31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5139" y="1481139"/>
            <a:ext cx="2645810" cy="1488268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38" name="Textplatzhalter 18"/>
          <p:cNvSpPr>
            <a:spLocks noGrp="1"/>
          </p:cNvSpPr>
          <p:nvPr>
            <p:ph type="body" sz="quarter" idx="35"/>
          </p:nvPr>
        </p:nvSpPr>
        <p:spPr>
          <a:xfrm>
            <a:off x="3337046" y="3774585"/>
            <a:ext cx="2646000" cy="2400790"/>
          </a:xfrm>
          <a:prstGeom prst="rect">
            <a:avLst/>
          </a:prstGeom>
        </p:spPr>
        <p:txBody>
          <a:bodyPr lIns="0" tIns="0" rIns="0" bIns="0"/>
          <a:lstStyle>
            <a:lvl1pPr marL="144000" indent="-144000">
              <a:buClr>
                <a:schemeClr val="tx2"/>
              </a:buClr>
              <a:buFont typeface="Arial" panose="020B0604020202020204" pitchFamily="34" charset="0"/>
              <a:buChar char="•"/>
              <a:defRPr lang="de-DE" sz="16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Clr>
                <a:srgbClr val="227DC6"/>
              </a:buClr>
              <a:defRPr sz="1600"/>
            </a:lvl2pPr>
            <a:lvl3pPr>
              <a:buClr>
                <a:srgbClr val="227DC6"/>
              </a:buClr>
              <a:defRPr sz="1600"/>
            </a:lvl3pPr>
            <a:lvl4pPr>
              <a:buClr>
                <a:srgbClr val="227DC6"/>
              </a:buClr>
              <a:defRPr sz="1600"/>
            </a:lvl4pPr>
            <a:lvl5pPr>
              <a:buClr>
                <a:srgbClr val="227DC6"/>
              </a:buClr>
              <a:defRPr sz="1600"/>
            </a:lvl5pPr>
          </a:lstStyle>
          <a:p>
            <a:pPr marL="144000" lvl="0" indent="-1440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Textmasterformat bearbeiten</a:t>
            </a:r>
          </a:p>
        </p:txBody>
      </p:sp>
      <p:sp>
        <p:nvSpPr>
          <p:cNvPr id="39" name="Textplatzhalter 20"/>
          <p:cNvSpPr>
            <a:spLocks noGrp="1"/>
          </p:cNvSpPr>
          <p:nvPr>
            <p:ph type="body" sz="quarter" idx="36"/>
          </p:nvPr>
        </p:nvSpPr>
        <p:spPr>
          <a:xfrm>
            <a:off x="3337046" y="2967732"/>
            <a:ext cx="2646000" cy="591317"/>
          </a:xfrm>
          <a:prstGeom prst="rect">
            <a:avLst/>
          </a:prstGeom>
          <a:solidFill>
            <a:srgbClr val="227DC6"/>
          </a:solidFill>
        </p:spPr>
        <p:txBody>
          <a:bodyPr tIns="0" bIns="0" anchor="ctr" anchorCtr="0"/>
          <a:lstStyle>
            <a:lvl1pPr algn="ctr">
              <a:defRPr sz="1600" b="1">
                <a:solidFill>
                  <a:srgbClr val="FFFFFF"/>
                </a:solidFill>
              </a:defRPr>
            </a:lvl1pPr>
            <a:lvl2pPr>
              <a:buClr>
                <a:srgbClr val="227DC6"/>
              </a:buClr>
              <a:defRPr sz="1400"/>
            </a:lvl2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0" name="Bildplatzhalter 7"/>
          <p:cNvSpPr>
            <a:spLocks noGrp="1"/>
          </p:cNvSpPr>
          <p:nvPr>
            <p:ph type="pic" sz="quarter" idx="37" hasCustomPrompt="1"/>
          </p:nvPr>
        </p:nvSpPr>
        <p:spPr>
          <a:xfrm>
            <a:off x="3337047" y="1481139"/>
            <a:ext cx="2645810" cy="1488268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41" name="Textplatzhalter 18"/>
          <p:cNvSpPr>
            <a:spLocks noGrp="1"/>
          </p:cNvSpPr>
          <p:nvPr>
            <p:ph type="body" sz="quarter" idx="38"/>
          </p:nvPr>
        </p:nvSpPr>
        <p:spPr>
          <a:xfrm>
            <a:off x="6208954" y="3774585"/>
            <a:ext cx="2646000" cy="2400790"/>
          </a:xfrm>
          <a:prstGeom prst="rect">
            <a:avLst/>
          </a:prstGeom>
        </p:spPr>
        <p:txBody>
          <a:bodyPr lIns="0" tIns="0" rIns="0" bIns="0"/>
          <a:lstStyle>
            <a:lvl1pPr marL="144000" indent="-144000">
              <a:buClr>
                <a:schemeClr val="tx2"/>
              </a:buClr>
              <a:buFont typeface="Arial" panose="020B0604020202020204" pitchFamily="34" charset="0"/>
              <a:buChar char="•"/>
              <a:defRPr lang="de-DE" sz="16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Clr>
                <a:srgbClr val="227DC6"/>
              </a:buClr>
              <a:defRPr sz="1600"/>
            </a:lvl2pPr>
            <a:lvl3pPr>
              <a:buClr>
                <a:srgbClr val="227DC6"/>
              </a:buClr>
              <a:defRPr sz="1600"/>
            </a:lvl3pPr>
            <a:lvl4pPr>
              <a:buClr>
                <a:srgbClr val="227DC6"/>
              </a:buClr>
              <a:defRPr sz="1600"/>
            </a:lvl4pPr>
            <a:lvl5pPr>
              <a:buClr>
                <a:srgbClr val="227DC6"/>
              </a:buClr>
              <a:defRPr sz="1600"/>
            </a:lvl5pPr>
          </a:lstStyle>
          <a:p>
            <a:pPr marL="144000" lvl="0" indent="-1440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Textmasterformat bearbeiten</a:t>
            </a:r>
          </a:p>
        </p:txBody>
      </p:sp>
      <p:sp>
        <p:nvSpPr>
          <p:cNvPr id="42" name="Textplatzhalter 20"/>
          <p:cNvSpPr>
            <a:spLocks noGrp="1"/>
          </p:cNvSpPr>
          <p:nvPr>
            <p:ph type="body" sz="quarter" idx="39"/>
          </p:nvPr>
        </p:nvSpPr>
        <p:spPr>
          <a:xfrm>
            <a:off x="6208954" y="2967733"/>
            <a:ext cx="2646000" cy="591316"/>
          </a:xfrm>
          <a:prstGeom prst="rect">
            <a:avLst/>
          </a:prstGeom>
          <a:solidFill>
            <a:srgbClr val="227DC6"/>
          </a:solidFill>
        </p:spPr>
        <p:txBody>
          <a:bodyPr tIns="0" bIns="0" anchor="ctr" anchorCtr="0"/>
          <a:lstStyle>
            <a:lvl1pPr algn="ctr">
              <a:defRPr sz="1600" b="1">
                <a:solidFill>
                  <a:srgbClr val="FFFFFF"/>
                </a:solidFill>
              </a:defRPr>
            </a:lvl1pPr>
            <a:lvl2pPr>
              <a:buClr>
                <a:srgbClr val="227DC6"/>
              </a:buClr>
              <a:defRPr sz="1400"/>
            </a:lvl2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3" name="Bildplatzhalter 7"/>
          <p:cNvSpPr>
            <a:spLocks noGrp="1"/>
          </p:cNvSpPr>
          <p:nvPr>
            <p:ph type="pic" sz="quarter" idx="40" hasCustomPrompt="1"/>
          </p:nvPr>
        </p:nvSpPr>
        <p:spPr>
          <a:xfrm>
            <a:off x="6208955" y="1481139"/>
            <a:ext cx="2645810" cy="1488268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44" name="Textplatzhalter 18"/>
          <p:cNvSpPr>
            <a:spLocks noGrp="1"/>
          </p:cNvSpPr>
          <p:nvPr>
            <p:ph type="body" sz="quarter" idx="41"/>
          </p:nvPr>
        </p:nvSpPr>
        <p:spPr>
          <a:xfrm>
            <a:off x="9080863" y="3774585"/>
            <a:ext cx="2646000" cy="2400790"/>
          </a:xfrm>
          <a:prstGeom prst="rect">
            <a:avLst/>
          </a:prstGeom>
        </p:spPr>
        <p:txBody>
          <a:bodyPr lIns="0" tIns="0" rIns="0" bIns="0"/>
          <a:lstStyle>
            <a:lvl1pPr marL="144000" indent="-144000">
              <a:buClr>
                <a:schemeClr val="tx2"/>
              </a:buClr>
              <a:buFont typeface="Arial" panose="020B0604020202020204" pitchFamily="34" charset="0"/>
              <a:buChar char="•"/>
              <a:defRPr lang="de-DE" sz="16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Clr>
                <a:srgbClr val="227DC6"/>
              </a:buClr>
              <a:defRPr sz="1600"/>
            </a:lvl2pPr>
            <a:lvl3pPr>
              <a:buClr>
                <a:srgbClr val="227DC6"/>
              </a:buClr>
              <a:defRPr sz="1600"/>
            </a:lvl3pPr>
            <a:lvl4pPr>
              <a:buClr>
                <a:srgbClr val="227DC6"/>
              </a:buClr>
              <a:defRPr sz="1600"/>
            </a:lvl4pPr>
            <a:lvl5pPr>
              <a:buClr>
                <a:srgbClr val="227DC6"/>
              </a:buClr>
              <a:defRPr sz="1600"/>
            </a:lvl5pPr>
          </a:lstStyle>
          <a:p>
            <a:pPr marL="144000" lvl="0" indent="-1440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Textmasterformat bearbeiten</a:t>
            </a:r>
          </a:p>
        </p:txBody>
      </p:sp>
      <p:sp>
        <p:nvSpPr>
          <p:cNvPr id="45" name="Textplatzhalter 20"/>
          <p:cNvSpPr>
            <a:spLocks noGrp="1"/>
          </p:cNvSpPr>
          <p:nvPr>
            <p:ph type="body" sz="quarter" idx="42"/>
          </p:nvPr>
        </p:nvSpPr>
        <p:spPr>
          <a:xfrm>
            <a:off x="9080863" y="2967732"/>
            <a:ext cx="2646000" cy="591317"/>
          </a:xfrm>
          <a:prstGeom prst="rect">
            <a:avLst/>
          </a:prstGeom>
          <a:solidFill>
            <a:srgbClr val="227DC6"/>
          </a:solidFill>
        </p:spPr>
        <p:txBody>
          <a:bodyPr tIns="0" bIns="0" anchor="ctr" anchorCtr="0"/>
          <a:lstStyle>
            <a:lvl1pPr algn="ctr">
              <a:defRPr sz="1600" b="1">
                <a:solidFill>
                  <a:srgbClr val="FFFFFF"/>
                </a:solidFill>
              </a:defRPr>
            </a:lvl1pPr>
            <a:lvl2pPr>
              <a:buClr>
                <a:srgbClr val="227DC6"/>
              </a:buClr>
              <a:defRPr sz="1400"/>
            </a:lvl2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6" name="Bildplatzhalter 7"/>
          <p:cNvSpPr>
            <a:spLocks noGrp="1"/>
          </p:cNvSpPr>
          <p:nvPr>
            <p:ph type="pic" sz="quarter" idx="43" hasCustomPrompt="1"/>
          </p:nvPr>
        </p:nvSpPr>
        <p:spPr>
          <a:xfrm>
            <a:off x="9080864" y="1481140"/>
            <a:ext cx="2645810" cy="1488268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15" name="Rectangle 47">
            <a:extLst>
              <a:ext uri="{FF2B5EF4-FFF2-40B4-BE49-F238E27FC236}">
                <a16:creationId xmlns:a16="http://schemas.microsoft.com/office/drawing/2014/main" id="{5DCD03E8-E10C-4756-A36A-C4437B99BDD6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26309553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30523" y="1354263"/>
            <a:ext cx="11289989" cy="4821112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25000"/>
              </a:lnSpc>
              <a:buClr>
                <a:srgbClr val="227DC6"/>
              </a:buClr>
              <a:buSzPct val="120000"/>
              <a:buFont typeface="Wingdings" panose="05000000000000000000" pitchFamily="2" charset="2"/>
              <a:buChar char="§"/>
              <a:defRPr sz="1800" baseline="0">
                <a:solidFill>
                  <a:srgbClr val="000000"/>
                </a:solidFill>
              </a:defRPr>
            </a:lvl1pPr>
            <a:lvl2pPr>
              <a:defRPr sz="1800"/>
            </a:lvl2pPr>
            <a:lvl3pPr marL="444500" indent="-176213">
              <a:lnSpc>
                <a:spcPct val="125000"/>
              </a:lnSpc>
              <a:buClr>
                <a:srgbClr val="227DC6"/>
              </a:buClr>
              <a:buSzPct val="11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Aufzählungspunkt durch Klicken hinzufügen</a:t>
            </a:r>
          </a:p>
          <a:p>
            <a:pPr lvl="0"/>
            <a:r>
              <a:rPr lang="de-DE" dirty="0"/>
              <a:t>Aufzählung</a:t>
            </a:r>
          </a:p>
          <a:p>
            <a:pPr lvl="2"/>
            <a:r>
              <a:rPr lang="de-DE" dirty="0"/>
              <a:t>Unterpunkt</a:t>
            </a:r>
          </a:p>
          <a:p>
            <a:pPr lvl="0"/>
            <a:r>
              <a:rPr lang="de-DE" dirty="0"/>
              <a:t>Aufzählung</a:t>
            </a:r>
          </a:p>
          <a:p>
            <a:pPr lvl="2"/>
            <a:r>
              <a:rPr lang="de-DE" dirty="0"/>
              <a:t>Unterpunkt</a:t>
            </a:r>
          </a:p>
          <a:p>
            <a:pPr lvl="2"/>
            <a:r>
              <a:rPr lang="de-DE" dirty="0"/>
              <a:t>Unterpunkt</a:t>
            </a:r>
          </a:p>
        </p:txBody>
      </p:sp>
      <p:sp>
        <p:nvSpPr>
          <p:cNvPr id="5" name="Rectangle 47">
            <a:extLst>
              <a:ext uri="{FF2B5EF4-FFF2-40B4-BE49-F238E27FC236}">
                <a16:creationId xmlns:a16="http://schemas.microsoft.com/office/drawing/2014/main" id="{A349DFB4-BBDE-4333-9D2A-EB1BDEFF349D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29228942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(ein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69899" y="1429784"/>
            <a:ext cx="11253399" cy="4745592"/>
          </a:xfrm>
          <a:prstGeom prst="rect">
            <a:avLst/>
          </a:prstGeom>
        </p:spPr>
        <p:txBody>
          <a:bodyPr lIns="0" tIns="0" rIns="0" bIns="0" numCol="1" spcCol="270000"/>
          <a:lstStyle>
            <a:lvl1pPr>
              <a:defRPr sz="1600" baseline="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 durch Klicken hinzufügen (einspaltig)</a:t>
            </a:r>
          </a:p>
        </p:txBody>
      </p:sp>
      <p:sp>
        <p:nvSpPr>
          <p:cNvPr id="7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4" name="Rectangle 47">
            <a:extLst>
              <a:ext uri="{FF2B5EF4-FFF2-40B4-BE49-F238E27FC236}">
                <a16:creationId xmlns:a16="http://schemas.microsoft.com/office/drawing/2014/main" id="{D7BF2123-843C-44AD-9B4F-966D737ACAA6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18445592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69899" y="1429784"/>
            <a:ext cx="11253399" cy="4745592"/>
          </a:xfrm>
          <a:prstGeom prst="rect">
            <a:avLst/>
          </a:prstGeom>
        </p:spPr>
        <p:txBody>
          <a:bodyPr lIns="0" tIns="0" rIns="0" bIns="0" numCol="2" spcCol="270000"/>
          <a:lstStyle>
            <a:lvl1pPr>
              <a:defRPr sz="1600" baseline="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 durch Klicken hinzufügen (zweispaltig)</a:t>
            </a:r>
          </a:p>
        </p:txBody>
      </p:sp>
      <p:sp>
        <p:nvSpPr>
          <p:cNvPr id="7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4" name="Rectangle 47">
            <a:extLst>
              <a:ext uri="{FF2B5EF4-FFF2-40B4-BE49-F238E27FC236}">
                <a16:creationId xmlns:a16="http://schemas.microsoft.com/office/drawing/2014/main" id="{FD1F4314-D48C-43FA-9204-8B90DD51648E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35440385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_L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38149" y="1366837"/>
            <a:ext cx="11282364" cy="4808537"/>
          </a:xfrm>
          <a:prstGeom prst="rect">
            <a:avLst/>
          </a:prstGeom>
        </p:spPr>
        <p:txBody>
          <a:bodyPr lIns="0" tIns="0" rIns="0" bIns="0" numCol="2" spcCol="270000"/>
          <a:lstStyle>
            <a:lvl1pPr marL="252000" indent="-252000">
              <a:lnSpc>
                <a:spcPct val="125000"/>
              </a:lnSpc>
              <a:buClr>
                <a:srgbClr val="227DC6"/>
              </a:buClr>
              <a:buSzPct val="120000"/>
              <a:buFont typeface="Wingdings" panose="05000000000000000000" pitchFamily="2" charset="2"/>
              <a:buChar char="§"/>
              <a:defRPr sz="1800" baseline="0">
                <a:solidFill>
                  <a:srgbClr val="000000"/>
                </a:solidFill>
              </a:defRPr>
            </a:lvl1pPr>
            <a:lvl2pPr>
              <a:defRPr sz="1800"/>
            </a:lvl2pPr>
            <a:lvl3pPr marL="444500" indent="-176213">
              <a:lnSpc>
                <a:spcPct val="125000"/>
              </a:lnSpc>
              <a:buClr>
                <a:srgbClr val="227DC6"/>
              </a:buClr>
              <a:buSzPct val="11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Aufzählung 1</a:t>
            </a:r>
          </a:p>
          <a:p>
            <a:pPr lvl="2"/>
            <a:r>
              <a:rPr lang="de-DE" dirty="0"/>
              <a:t>Unterpunkt 1</a:t>
            </a:r>
          </a:p>
          <a:p>
            <a:pPr lvl="0"/>
            <a:r>
              <a:rPr lang="de-DE" dirty="0"/>
              <a:t>Aufzählung 2</a:t>
            </a:r>
          </a:p>
          <a:p>
            <a:pPr lvl="2"/>
            <a:r>
              <a:rPr lang="de-DE" dirty="0"/>
              <a:t>Unterpunkt 1</a:t>
            </a:r>
          </a:p>
          <a:p>
            <a:pPr lvl="2"/>
            <a:endParaRPr lang="de-DE" dirty="0"/>
          </a:p>
        </p:txBody>
      </p:sp>
      <p:sp>
        <p:nvSpPr>
          <p:cNvPr id="7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4" name="Rectangle 47">
            <a:extLst>
              <a:ext uri="{FF2B5EF4-FFF2-40B4-BE49-F238E27FC236}">
                <a16:creationId xmlns:a16="http://schemas.microsoft.com/office/drawing/2014/main" id="{3285D3F5-BE0F-47D2-81AD-5C1B550EEBE9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40105214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3" name="Rectangle 47">
            <a:extLst>
              <a:ext uri="{FF2B5EF4-FFF2-40B4-BE49-F238E27FC236}">
                <a16:creationId xmlns:a16="http://schemas.microsoft.com/office/drawing/2014/main" id="{FD827737-CECF-4AF9-9AE3-7BDB8881695E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14887610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 mit Bild und Da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5151354" y="1481138"/>
            <a:ext cx="6575510" cy="4692650"/>
          </a:xfrm>
          <a:prstGeom prst="rect">
            <a:avLst/>
          </a:prstGeom>
        </p:spPr>
        <p:txBody>
          <a:bodyPr lIns="270000" tIns="0" rIns="0" bIns="0"/>
          <a:lstStyle>
            <a:lvl1pPr marL="0" indent="0">
              <a:buNone/>
              <a:defRPr sz="2400" baseline="0">
                <a:solidFill>
                  <a:srgbClr val="227CC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l">
              <a:buFont typeface="Arial" panose="020B0604020202020204" pitchFamily="34" charset="0"/>
              <a:buNone/>
              <a:defRPr sz="1600" baseline="0">
                <a:solidFill>
                  <a:srgbClr val="227CC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de-DE" dirty="0"/>
              <a:t>MAX MUSTERMANN</a:t>
            </a:r>
          </a:p>
          <a:p>
            <a:pPr lvl="1"/>
            <a:r>
              <a:rPr lang="de-DE" dirty="0"/>
              <a:t>Positionsbeschreibung</a:t>
            </a:r>
          </a:p>
          <a:p>
            <a:pPr lvl="1"/>
            <a:r>
              <a:rPr lang="de-DE" dirty="0"/>
              <a:t>Gruppe / Region / Abteilung XY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Straße</a:t>
            </a:r>
          </a:p>
          <a:p>
            <a:pPr lvl="1"/>
            <a:r>
              <a:rPr lang="de-DE" dirty="0"/>
              <a:t>PLZ / Ort</a:t>
            </a:r>
          </a:p>
          <a:p>
            <a:pPr lvl="1"/>
            <a:r>
              <a:rPr lang="de-DE" dirty="0"/>
              <a:t>Land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P +49 2871 92 1234</a:t>
            </a:r>
          </a:p>
          <a:p>
            <a:pPr lvl="1"/>
            <a:r>
              <a:rPr lang="de-DE" dirty="0"/>
              <a:t>M +49 152 1234 5678</a:t>
            </a:r>
          </a:p>
          <a:p>
            <a:pPr lvl="1"/>
            <a:r>
              <a:rPr lang="de-DE" dirty="0"/>
              <a:t>max.mustermann@flender.com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flender.com</a:t>
            </a:r>
          </a:p>
        </p:txBody>
      </p:sp>
      <p:sp>
        <p:nvSpPr>
          <p:cNvPr id="7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41910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000"/>
              </a:lnSpc>
              <a:buNone/>
              <a:defRPr sz="2800" baseline="0">
                <a:solidFill>
                  <a:srgbClr val="227CC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5138" y="1481138"/>
            <a:ext cx="4680000" cy="468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fr-FR" noProof="0" dirty="0"/>
              <a:t>Bild durch Klicken hinzufügen</a:t>
            </a:r>
          </a:p>
          <a:p>
            <a:pPr lvl="0"/>
            <a:endParaRPr lang="fr-FR" noProof="0" dirty="0"/>
          </a:p>
        </p:txBody>
      </p:sp>
      <p:pic>
        <p:nvPicPr>
          <p:cNvPr id="9" name="Picture 2" descr="C:\Users\Romen-Agentur\Desktop\FL-Logo-RGB-office.wmf">
            <a:extLst>
              <a:ext uri="{FF2B5EF4-FFF2-40B4-BE49-F238E27FC236}">
                <a16:creationId xmlns:a16="http://schemas.microsoft.com/office/drawing/2014/main" id="{5CDB0EA3-918D-4A1F-89C6-0016A0EB468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6000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7036FDA9-5FFF-4D21-A31A-03344B5015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26864" y="5268708"/>
            <a:ext cx="1800000" cy="905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38C7FA6-63CA-4ABB-AC36-78655AE3B00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8522" y="5525652"/>
            <a:ext cx="584226" cy="584226"/>
          </a:xfrm>
          <a:prstGeom prst="rect">
            <a:avLst/>
          </a:prstGeom>
        </p:spPr>
      </p:pic>
      <p:pic>
        <p:nvPicPr>
          <p:cNvPr id="17" name="Picture 4" descr="Linkedin Logo | The most famous brands and company logos in the world">
            <a:extLst>
              <a:ext uri="{FF2B5EF4-FFF2-40B4-BE49-F238E27FC236}">
                <a16:creationId xmlns:a16="http://schemas.microsoft.com/office/drawing/2014/main" id="{58A43548-6BEA-4C4C-B815-9251EEBA9C5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3301" t="26029" r="394" b="26029"/>
          <a:stretch/>
        </p:blipFill>
        <p:spPr bwMode="auto">
          <a:xfrm>
            <a:off x="6972288" y="5498531"/>
            <a:ext cx="643180" cy="656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47">
            <a:extLst>
              <a:ext uri="{FF2B5EF4-FFF2-40B4-BE49-F238E27FC236}">
                <a16:creationId xmlns:a16="http://schemas.microsoft.com/office/drawing/2014/main" id="{81563465-38FB-4DFD-BE08-54BE74D58845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rgbClr val="69707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23006274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Variante 1_Bildaus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69107" y="1481138"/>
            <a:ext cx="11257756" cy="29088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5139" y="4630740"/>
            <a:ext cx="11261725" cy="1544637"/>
          </a:xfrm>
          <a:prstGeom prst="rect">
            <a:avLst/>
          </a:prstGeom>
        </p:spPr>
        <p:txBody>
          <a:bodyPr/>
          <a:lstStyle>
            <a:lvl1pPr>
              <a:defRPr sz="3198" baseline="0">
                <a:solidFill>
                  <a:srgbClr val="227CC6"/>
                </a:solidFill>
              </a:defRPr>
            </a:lvl1pPr>
            <a:lvl2pPr marL="1587" indent="0">
              <a:buFontTx/>
              <a:buNone/>
              <a:defRPr sz="1599" baseline="0">
                <a:solidFill>
                  <a:srgbClr val="697075"/>
                </a:solidFill>
              </a:defRPr>
            </a:lvl2pPr>
          </a:lstStyle>
          <a:p>
            <a:r>
              <a:rPr lang="de-DE" altLang="de-DE"/>
              <a:t>TITEL IN GROSSBUCHSTABEN MAX. ZWEIZEILIG</a:t>
            </a:r>
          </a:p>
        </p:txBody>
      </p:sp>
      <p:sp>
        <p:nvSpPr>
          <p:cNvPr id="6" name="cdtText Box 133 Id1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896087" y="6497640"/>
            <a:ext cx="48672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eaLnBrk="1" hangingPunct="1">
              <a:defRPr/>
            </a:pPr>
            <a:r>
              <a:rPr lang="de-DE" altLang="de-DE" sz="999">
                <a:solidFill>
                  <a:srgbClr val="697075"/>
                </a:solidFill>
              </a:rPr>
              <a:t>Frei verwendbar / © Flender GmbH 2021. Alle Rechte vorbehalten.</a:t>
            </a:r>
          </a:p>
        </p:txBody>
      </p:sp>
      <p:pic>
        <p:nvPicPr>
          <p:cNvPr id="9" name="Picture 2" descr="C:\Users\Romen-Agentur\Desktop\FL-Logo-RGB-office.wmf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6000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47">
            <a:extLst>
              <a:ext uri="{FF2B5EF4-FFF2-40B4-BE49-F238E27FC236}">
                <a16:creationId xmlns:a16="http://schemas.microsoft.com/office/drawing/2014/main" id="{6544531D-7A55-4C7F-85CA-E2DA171F8C7D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2"/>
            </p:custDataLst>
          </p:nvPr>
        </p:nvSpPr>
        <p:spPr bwMode="auto">
          <a:xfrm>
            <a:off x="465139" y="6455294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999" b="1">
                <a:solidFill>
                  <a:srgbClr val="697075"/>
                </a:solidFill>
                <a:latin typeface="Arial" panose="020B0604020202020204" pitchFamily="34" charset="0"/>
              </a:defRPr>
            </a:lvl1pPr>
          </a:lstStyle>
          <a:p>
            <a:fld id="{3C9E7A92-CF60-42DB-8046-C14009D7C5E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56676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Variante2a_dunkles vollflächiges Bild">
    <p:bg>
      <p:bgPr>
        <a:solidFill>
          <a:srgbClr val="6970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430840" y="2829818"/>
            <a:ext cx="6296024" cy="2076450"/>
          </a:xfrm>
          <a:prstGeom prst="rect">
            <a:avLst/>
          </a:prstGeom>
          <a:solidFill>
            <a:srgbClr val="227CC6">
              <a:alpha val="80000"/>
            </a:srgbClr>
          </a:solidFill>
        </p:spPr>
        <p:txBody>
          <a:bodyPr lIns="270000" tIns="0" rIns="0" bIns="0" anchor="ctr"/>
          <a:lstStyle>
            <a:lvl1pPr>
              <a:defRPr sz="3598" baseline="0">
                <a:solidFill>
                  <a:srgbClr val="FFFFFF"/>
                </a:solidFill>
              </a:defRPr>
            </a:lvl1pPr>
            <a:lvl2pPr>
              <a:defRPr sz="3598">
                <a:solidFill>
                  <a:srgbClr val="227DC6"/>
                </a:solidFill>
              </a:defRPr>
            </a:lvl2pPr>
            <a:lvl3pPr>
              <a:defRPr sz="3598">
                <a:solidFill>
                  <a:srgbClr val="227DC6"/>
                </a:solidFill>
              </a:defRPr>
            </a:lvl3pPr>
            <a:lvl4pPr>
              <a:defRPr sz="3598">
                <a:solidFill>
                  <a:srgbClr val="227DC6"/>
                </a:solidFill>
              </a:defRPr>
            </a:lvl4pPr>
            <a:lvl5pPr>
              <a:defRPr sz="3598">
                <a:solidFill>
                  <a:srgbClr val="227DC6"/>
                </a:solidFill>
              </a:defRPr>
            </a:lvl5pPr>
          </a:lstStyle>
          <a:p>
            <a:pPr lvl="0"/>
            <a:r>
              <a:rPr lang="de-DE"/>
              <a:t>TITEL IN GROSSBUCHSTABEN (DUNKLES BILD)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430838" y="5176270"/>
            <a:ext cx="6296025" cy="1001265"/>
          </a:xfrm>
          <a:prstGeom prst="rect">
            <a:avLst/>
          </a:prstGeom>
          <a:solidFill>
            <a:srgbClr val="227CC6">
              <a:alpha val="80000"/>
            </a:srgbClr>
          </a:solidFill>
        </p:spPr>
        <p:txBody>
          <a:bodyPr lIns="270000" tIns="0" rIns="0" bIns="0" anchor="ctr"/>
          <a:lstStyle>
            <a:lvl1pPr>
              <a:defRPr sz="2799" baseline="0">
                <a:solidFill>
                  <a:srgbClr val="FFFFFF"/>
                </a:solidFill>
              </a:defRPr>
            </a:lvl1pPr>
            <a:lvl2pPr>
              <a:defRPr sz="3598">
                <a:solidFill>
                  <a:srgbClr val="227DC6"/>
                </a:solidFill>
              </a:defRPr>
            </a:lvl2pPr>
            <a:lvl3pPr>
              <a:defRPr sz="3598">
                <a:solidFill>
                  <a:srgbClr val="227DC6"/>
                </a:solidFill>
              </a:defRPr>
            </a:lvl3pPr>
            <a:lvl4pPr>
              <a:defRPr sz="3598">
                <a:solidFill>
                  <a:srgbClr val="227DC6"/>
                </a:solidFill>
              </a:defRPr>
            </a:lvl4pPr>
            <a:lvl5pPr>
              <a:defRPr sz="3598">
                <a:solidFill>
                  <a:srgbClr val="227DC6"/>
                </a:solidFill>
              </a:defRPr>
            </a:lvl5pPr>
          </a:lstStyle>
          <a:p>
            <a:pPr lvl="0"/>
            <a:r>
              <a:rPr lang="de-DE"/>
              <a:t>Titelversion 2</a:t>
            </a:r>
          </a:p>
        </p:txBody>
      </p:sp>
      <p:sp>
        <p:nvSpPr>
          <p:cNvPr id="11" name="cdtText Box 133 Id1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893425" y="6497640"/>
            <a:ext cx="48672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eaLnBrk="1" hangingPunct="1">
              <a:defRPr/>
            </a:pPr>
            <a:r>
              <a:rPr lang="de-DE" altLang="de-DE" sz="999">
                <a:solidFill>
                  <a:srgbClr val="FFFFFF"/>
                </a:solidFill>
              </a:rPr>
              <a:t>Frei verwendbar / © Flender GmbH 2021. Alle Rechte vorbehalten.</a:t>
            </a:r>
          </a:p>
        </p:txBody>
      </p:sp>
      <p:pic>
        <p:nvPicPr>
          <p:cNvPr id="7" name="Picture 2" descr="C:\Users\Romen-Agentur\Desktop\FL-Logo-RGB-office.wmf"/>
          <p:cNvPicPr>
            <a:picLocks noChangeAspect="1" noChangeArrowheads="1"/>
          </p:cNvPicPr>
          <p:nvPr/>
        </p:nvPicPr>
        <p:blipFill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4055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47">
            <a:extLst>
              <a:ext uri="{FF2B5EF4-FFF2-40B4-BE49-F238E27FC236}">
                <a16:creationId xmlns:a16="http://schemas.microsoft.com/office/drawing/2014/main" id="{F8DCD6C9-A495-44DB-8290-C7B68F6CF238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2"/>
            </p:custDataLst>
          </p:nvPr>
        </p:nvSpPr>
        <p:spPr bwMode="auto">
          <a:xfrm>
            <a:off x="465139" y="6455294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999" b="1">
                <a:solidFill>
                  <a:schemeClr val="accent6">
                    <a:lumMod val="20000"/>
                    <a:lumOff val="8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3C9E7A92-CF60-42DB-8046-C14009D7C5E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975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Variante2b_vollflächiges helles Bil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dtText Box 133 Id1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896087" y="6497640"/>
            <a:ext cx="48672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eaLnBrk="1" hangingPunct="1">
              <a:defRPr/>
            </a:pPr>
            <a:r>
              <a:rPr lang="de-DE" altLang="de-DE" sz="999" kern="1200">
                <a:solidFill>
                  <a:srgbClr val="697075"/>
                </a:solidFill>
                <a:latin typeface="Arial" pitchFamily="34" charset="0"/>
                <a:ea typeface="ＭＳ Ｐゴシック"/>
              </a:rPr>
              <a:t>Frei verwendbar</a:t>
            </a:r>
            <a:r>
              <a:rPr lang="de-DE" altLang="de-DE" sz="999">
                <a:solidFill>
                  <a:srgbClr val="697075"/>
                </a:solidFill>
              </a:rPr>
              <a:t> </a:t>
            </a:r>
            <a:r>
              <a:rPr lang="de-DE" altLang="de-DE" sz="999" kern="1200">
                <a:solidFill>
                  <a:srgbClr val="697075"/>
                </a:solidFill>
                <a:latin typeface="Arial" pitchFamily="34" charset="0"/>
                <a:ea typeface="ＭＳ Ｐゴシック"/>
                <a:cs typeface="ＭＳ Ｐゴシック"/>
              </a:rPr>
              <a:t>/ © Flender GmbH 2021. Alle Rechte vorbehalten</a:t>
            </a:r>
            <a:r>
              <a:rPr lang="de-DE" altLang="de-DE" sz="999">
                <a:solidFill>
                  <a:srgbClr val="697075"/>
                </a:solidFill>
              </a:rPr>
              <a:t>. </a:t>
            </a:r>
          </a:p>
        </p:txBody>
      </p:sp>
      <p:sp>
        <p:nvSpPr>
          <p:cNvPr id="8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430840" y="2829818"/>
            <a:ext cx="6296024" cy="2076450"/>
          </a:xfrm>
          <a:prstGeom prst="rect">
            <a:avLst/>
          </a:prstGeom>
          <a:solidFill>
            <a:srgbClr val="227CC6">
              <a:alpha val="80000"/>
            </a:srgbClr>
          </a:solidFill>
        </p:spPr>
        <p:txBody>
          <a:bodyPr lIns="270000" tIns="0" rIns="0" bIns="0" anchor="ctr"/>
          <a:lstStyle>
            <a:lvl1pPr>
              <a:defRPr sz="3598" baseline="0">
                <a:solidFill>
                  <a:srgbClr val="FFFFFF"/>
                </a:solidFill>
              </a:defRPr>
            </a:lvl1pPr>
            <a:lvl2pPr>
              <a:defRPr sz="3598">
                <a:solidFill>
                  <a:srgbClr val="227DC6"/>
                </a:solidFill>
              </a:defRPr>
            </a:lvl2pPr>
            <a:lvl3pPr>
              <a:defRPr sz="3598">
                <a:solidFill>
                  <a:srgbClr val="227DC6"/>
                </a:solidFill>
              </a:defRPr>
            </a:lvl3pPr>
            <a:lvl4pPr>
              <a:defRPr sz="3598">
                <a:solidFill>
                  <a:srgbClr val="227DC6"/>
                </a:solidFill>
              </a:defRPr>
            </a:lvl4pPr>
            <a:lvl5pPr>
              <a:defRPr sz="3598">
                <a:solidFill>
                  <a:srgbClr val="227DC6"/>
                </a:solidFill>
              </a:defRPr>
            </a:lvl5pPr>
          </a:lstStyle>
          <a:p>
            <a:pPr lvl="0"/>
            <a:r>
              <a:rPr lang="de-DE"/>
              <a:t>TITEL IN GROSSBUCHSTABEN (HELLES BILD)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430838" y="5176270"/>
            <a:ext cx="6296025" cy="1001265"/>
          </a:xfrm>
          <a:prstGeom prst="rect">
            <a:avLst/>
          </a:prstGeom>
          <a:solidFill>
            <a:srgbClr val="227CC6">
              <a:alpha val="80000"/>
            </a:srgbClr>
          </a:solidFill>
        </p:spPr>
        <p:txBody>
          <a:bodyPr lIns="270000" tIns="0" rIns="0" bIns="0" anchor="ctr"/>
          <a:lstStyle>
            <a:lvl1pPr>
              <a:defRPr sz="2799" baseline="0">
                <a:solidFill>
                  <a:srgbClr val="FFFFFF"/>
                </a:solidFill>
              </a:defRPr>
            </a:lvl1pPr>
            <a:lvl2pPr>
              <a:defRPr sz="3598">
                <a:solidFill>
                  <a:srgbClr val="227DC6"/>
                </a:solidFill>
              </a:defRPr>
            </a:lvl2pPr>
            <a:lvl3pPr>
              <a:defRPr sz="3598">
                <a:solidFill>
                  <a:srgbClr val="227DC6"/>
                </a:solidFill>
              </a:defRPr>
            </a:lvl3pPr>
            <a:lvl4pPr>
              <a:defRPr sz="3598">
                <a:solidFill>
                  <a:srgbClr val="227DC6"/>
                </a:solidFill>
              </a:defRPr>
            </a:lvl4pPr>
            <a:lvl5pPr>
              <a:defRPr sz="3598">
                <a:solidFill>
                  <a:srgbClr val="227DC6"/>
                </a:solidFill>
              </a:defRPr>
            </a:lvl5pPr>
          </a:lstStyle>
          <a:p>
            <a:pPr lvl="0"/>
            <a:r>
              <a:rPr lang="de-DE"/>
              <a:t>Titelversion 2</a:t>
            </a:r>
          </a:p>
        </p:txBody>
      </p:sp>
      <p:pic>
        <p:nvPicPr>
          <p:cNvPr id="13" name="Picture 2" descr="C:\Users\Romen-Agentur\Desktop\FL-Logo-RGB-office.wmf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6000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47">
            <a:extLst>
              <a:ext uri="{FF2B5EF4-FFF2-40B4-BE49-F238E27FC236}">
                <a16:creationId xmlns:a16="http://schemas.microsoft.com/office/drawing/2014/main" id="{7620C74E-F5A4-4B51-BE54-A31D095436FD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2"/>
            </p:custDataLst>
          </p:nvPr>
        </p:nvSpPr>
        <p:spPr bwMode="auto">
          <a:xfrm>
            <a:off x="465139" y="6455294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999" b="1">
                <a:solidFill>
                  <a:srgbClr val="697075"/>
                </a:solidFill>
                <a:latin typeface="Arial" panose="020B0604020202020204" pitchFamily="34" charset="0"/>
              </a:defRPr>
            </a:lvl1pPr>
          </a:lstStyle>
          <a:p>
            <a:fld id="{3C9E7A92-CF60-42DB-8046-C14009D7C5E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82257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3">
            <a:extLst>
              <a:ext uri="{FF2B5EF4-FFF2-40B4-BE49-F238E27FC236}">
                <a16:creationId xmlns:a16="http://schemas.microsoft.com/office/drawing/2014/main" id="{AAB74DF6-C7FB-464D-89EB-4E92034B31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7" t="12583" r="107" b="21609"/>
          <a:stretch/>
        </p:blipFill>
        <p:spPr bwMode="auto">
          <a:xfrm>
            <a:off x="465138" y="1376218"/>
            <a:ext cx="11267262" cy="4952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object 37">
            <a:extLst>
              <a:ext uri="{FF2B5EF4-FFF2-40B4-BE49-F238E27FC236}">
                <a16:creationId xmlns:a16="http://schemas.microsoft.com/office/drawing/2014/main" id="{8E74174B-F8A1-4D36-80AA-C786833C065F}"/>
              </a:ext>
            </a:extLst>
          </p:cNvPr>
          <p:cNvSpPr txBox="1"/>
          <p:nvPr userDrawn="1"/>
        </p:nvSpPr>
        <p:spPr>
          <a:xfrm>
            <a:off x="561474" y="235507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>
            <a:defPPr>
              <a:defRPr lang="de-DE"/>
            </a:defPPr>
            <a:lvl1pPr lvl="0">
              <a:defRPr sz="1400" b="1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. XXX</a:t>
            </a:r>
          </a:p>
        </p:txBody>
      </p:sp>
      <p:sp>
        <p:nvSpPr>
          <p:cNvPr id="6" name="object 40">
            <a:extLst>
              <a:ext uri="{FF2B5EF4-FFF2-40B4-BE49-F238E27FC236}">
                <a16:creationId xmlns:a16="http://schemas.microsoft.com/office/drawing/2014/main" id="{8B6269C5-9E4C-4214-AA9D-6281944E68B2}"/>
              </a:ext>
            </a:extLst>
          </p:cNvPr>
          <p:cNvSpPr txBox="1"/>
          <p:nvPr userDrawn="1"/>
        </p:nvSpPr>
        <p:spPr>
          <a:xfrm>
            <a:off x="561474" y="285534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>
            <a:defPPr>
              <a:defRPr lang="de-DE"/>
            </a:defPPr>
            <a:lvl1pPr lvl="0">
              <a:defRPr sz="1400" b="1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. XXX</a:t>
            </a:r>
          </a:p>
        </p:txBody>
      </p:sp>
      <p:sp>
        <p:nvSpPr>
          <p:cNvPr id="7" name="object 43">
            <a:extLst>
              <a:ext uri="{FF2B5EF4-FFF2-40B4-BE49-F238E27FC236}">
                <a16:creationId xmlns:a16="http://schemas.microsoft.com/office/drawing/2014/main" id="{F26B83CB-904B-411D-A39B-608AD4CE5444}"/>
              </a:ext>
            </a:extLst>
          </p:cNvPr>
          <p:cNvSpPr txBox="1"/>
          <p:nvPr userDrawn="1"/>
        </p:nvSpPr>
        <p:spPr>
          <a:xfrm>
            <a:off x="561474" y="385588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5. XXX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object 46">
            <a:extLst>
              <a:ext uri="{FF2B5EF4-FFF2-40B4-BE49-F238E27FC236}">
                <a16:creationId xmlns:a16="http://schemas.microsoft.com/office/drawing/2014/main" id="{076B3F33-4D74-47C6-AC37-4AD05BD30228}"/>
              </a:ext>
            </a:extLst>
          </p:cNvPr>
          <p:cNvSpPr txBox="1"/>
          <p:nvPr userDrawn="1"/>
        </p:nvSpPr>
        <p:spPr>
          <a:xfrm>
            <a:off x="561474" y="435615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6. XXX  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object 52">
            <a:extLst>
              <a:ext uri="{FF2B5EF4-FFF2-40B4-BE49-F238E27FC236}">
                <a16:creationId xmlns:a16="http://schemas.microsoft.com/office/drawing/2014/main" id="{D3442179-722C-49C1-A17E-554EBEFA98A9}"/>
              </a:ext>
            </a:extLst>
          </p:cNvPr>
          <p:cNvSpPr txBox="1"/>
          <p:nvPr userDrawn="1"/>
        </p:nvSpPr>
        <p:spPr>
          <a:xfrm>
            <a:off x="561474" y="335561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. XXX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" name="object 37">
            <a:extLst>
              <a:ext uri="{FF2B5EF4-FFF2-40B4-BE49-F238E27FC236}">
                <a16:creationId xmlns:a16="http://schemas.microsoft.com/office/drawing/2014/main" id="{886E041B-40E2-4EEB-9DC9-C4D7B6D7CBD7}"/>
              </a:ext>
            </a:extLst>
          </p:cNvPr>
          <p:cNvSpPr txBox="1"/>
          <p:nvPr userDrawn="1"/>
        </p:nvSpPr>
        <p:spPr>
          <a:xfrm>
            <a:off x="561474" y="1854808"/>
            <a:ext cx="11074590" cy="442593"/>
          </a:xfrm>
          <a:prstGeom prst="rect">
            <a:avLst/>
          </a:prstGeom>
          <a:solidFill>
            <a:srgbClr val="227DC6"/>
          </a:solidFill>
        </p:spPr>
        <p:txBody>
          <a:bodyPr vert="horz" wrap="square" lIns="324000" tIns="72000" rIns="72000" bIns="72000" rtlCol="0" anchor="ctr">
            <a:noAutofit/>
          </a:bodyPr>
          <a:lstStyle>
            <a:defPPr>
              <a:defRPr lang="de-DE"/>
            </a:defPPr>
            <a:lvl1pPr lvl="0">
              <a:defRPr sz="1400" b="1">
                <a:solidFill>
                  <a:schemeClr val="bg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. XXX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1C3A5C9-B3DA-4A53-88D6-793BFB0F8CAD}"/>
              </a:ext>
            </a:extLst>
          </p:cNvPr>
          <p:cNvSpPr txBox="1">
            <a:spLocks/>
          </p:cNvSpPr>
          <p:nvPr userDrawn="1"/>
        </p:nvSpPr>
        <p:spPr>
          <a:xfrm>
            <a:off x="465138" y="41910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sz="2800" baseline="0">
                <a:solidFill>
                  <a:srgbClr val="227DC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indent="0" algn="l" rtl="0" eaLnBrk="0" fontAlgn="base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None/>
              <a:defRPr sz="1600">
                <a:solidFill>
                  <a:srgbClr val="69707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>
                <a:srgbClr val="227DC6"/>
              </a:buClr>
              <a:buSzTx/>
              <a:buFont typeface="Arial" charset="0"/>
              <a:buNone/>
              <a:tabLst/>
              <a:defRPr/>
            </a:pPr>
            <a:r>
              <a:rPr kumimoji="0" lang="en-GB" sz="2800" b="0" i="0" u="none" strike="noStrike" kern="0" cap="none" spc="0" normalizeH="0" baseline="0" noProof="0">
                <a:ln>
                  <a:noFill/>
                </a:ln>
                <a:solidFill>
                  <a:srgbClr val="227DC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genda</a:t>
            </a:r>
            <a:endParaRPr kumimoji="0" lang="en-GB" sz="2800" b="0" i="0" u="none" strike="noStrike" kern="0" cap="none" spc="0" normalizeH="0" baseline="0" noProof="0" dirty="0">
              <a:ln>
                <a:noFill/>
              </a:ln>
              <a:solidFill>
                <a:srgbClr val="227DC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" name="Rectangle 47">
            <a:extLst>
              <a:ext uri="{FF2B5EF4-FFF2-40B4-BE49-F238E27FC236}">
                <a16:creationId xmlns:a16="http://schemas.microsoft.com/office/drawing/2014/main" id="{C9575FC4-5374-4B45-B4B1-3438D4E438B3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  <p:pic>
        <p:nvPicPr>
          <p:cNvPr id="16" name="Picture 2" descr="C:\Users\Romen-Agentur\Desktop\FL-Logo-RGB-office.wmf">
            <a:extLst>
              <a:ext uri="{FF2B5EF4-FFF2-40B4-BE49-F238E27FC236}">
                <a16:creationId xmlns:a16="http://schemas.microsoft.com/office/drawing/2014/main" id="{3E37EEDA-1AC6-43A0-8DC2-4A97869CCD8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6000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82475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082EE177-011C-4BB6-8C78-AC3A5EFC5A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8350" cy="689472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6491848-1A95-4A31-B099-EE5F5F41F6F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9" t="-1" r="4148" b="15001"/>
          <a:stretch/>
        </p:blipFill>
        <p:spPr>
          <a:xfrm>
            <a:off x="9177456" y="39791"/>
            <a:ext cx="2922876" cy="814572"/>
          </a:xfrm>
          <a:prstGeom prst="rect">
            <a:avLst/>
          </a:prstGeom>
        </p:spPr>
      </p:pic>
      <p:sp>
        <p:nvSpPr>
          <p:cNvPr id="5" name="Rectangle 5">
            <a:extLst>
              <a:ext uri="{FF2B5EF4-FFF2-40B4-BE49-F238E27FC236}">
                <a16:creationId xmlns:a16="http://schemas.microsoft.com/office/drawing/2014/main" id="{29D45639-5CE1-4232-B0A4-7E4EAB4498E5}"/>
              </a:ext>
            </a:extLst>
          </p:cNvPr>
          <p:cNvSpPr/>
          <p:nvPr/>
        </p:nvSpPr>
        <p:spPr bwMode="auto">
          <a:xfrm>
            <a:off x="1" y="4656498"/>
            <a:ext cx="5734051" cy="125950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marL="0" marR="0" lvl="0" indent="0" algn="ctr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GB" sz="1799" b="1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ED52C7FC-7D7B-42D1-9A8D-0B7882A60EB8}"/>
              </a:ext>
            </a:extLst>
          </p:cNvPr>
          <p:cNvSpPr txBox="1">
            <a:spLocks/>
          </p:cNvSpPr>
          <p:nvPr/>
        </p:nvSpPr>
        <p:spPr>
          <a:xfrm>
            <a:off x="180976" y="4656496"/>
            <a:ext cx="6408738" cy="43723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sz="36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3600">
                <a:solidFill>
                  <a:srgbClr val="227DC6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3600">
                <a:solidFill>
                  <a:srgbClr val="227DC6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3600">
                <a:solidFill>
                  <a:srgbClr val="227DC6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3600">
                <a:solidFill>
                  <a:srgbClr val="227DC6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3943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227DC6"/>
              </a:buClr>
              <a:buSzTx/>
              <a:buFont typeface="Arial" charset="0"/>
              <a:buNone/>
              <a:tabLst/>
              <a:defRPr/>
            </a:pPr>
            <a:r>
              <a:rPr kumimoji="0" lang="en-US" sz="27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ving</a:t>
            </a:r>
            <a:r>
              <a:rPr kumimoji="0" lang="en-US" sz="23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27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e</a:t>
            </a:r>
            <a:r>
              <a:rPr kumimoji="0" lang="en-US" sz="19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27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orld</a:t>
            </a:r>
            <a:r>
              <a:rPr kumimoji="0" lang="en-US" sz="23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27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</a:t>
            </a:r>
            <a:r>
              <a:rPr kumimoji="0" lang="en-US" sz="17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27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20</a:t>
            </a:r>
            <a:r>
              <a:rPr kumimoji="0" lang="en-US" sz="15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27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Years</a:t>
            </a:r>
            <a:endParaRPr kumimoji="0" lang="de-DE" sz="2799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DA7550E-F51E-4181-AF1C-498694EA3C24}"/>
              </a:ext>
            </a:extLst>
          </p:cNvPr>
          <p:cNvSpPr txBox="1">
            <a:spLocks/>
          </p:cNvSpPr>
          <p:nvPr/>
        </p:nvSpPr>
        <p:spPr>
          <a:xfrm>
            <a:off x="180976" y="5401441"/>
            <a:ext cx="6408738" cy="31233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sz="2800" baseline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3600">
                <a:solidFill>
                  <a:srgbClr val="227DC6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3600">
                <a:solidFill>
                  <a:srgbClr val="227DC6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3600">
                <a:solidFill>
                  <a:srgbClr val="227DC6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3600">
                <a:solidFill>
                  <a:srgbClr val="227DC6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3943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227DC6"/>
              </a:buClr>
              <a:buSzTx/>
              <a:buFont typeface="Arial" charset="0"/>
              <a:buNone/>
              <a:tabLst/>
              <a:defRPr/>
            </a:pPr>
            <a:r>
              <a:rPr kumimoji="0" lang="de-DE" sz="19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äsentationstitel</a:t>
            </a:r>
          </a:p>
        </p:txBody>
      </p:sp>
      <p:sp>
        <p:nvSpPr>
          <p:cNvPr id="10" name="Rectangle 47">
            <a:extLst>
              <a:ext uri="{FF2B5EF4-FFF2-40B4-BE49-F238E27FC236}">
                <a16:creationId xmlns:a16="http://schemas.microsoft.com/office/drawing/2014/main" id="{536EFD66-3889-46AF-AB34-707BA8266255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9" y="6516047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999" b="1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fld id="{3C9E7A92-CF60-42DB-8046-C14009D7C5E7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cdtText Box 133 Id16">
            <a:extLst>
              <a:ext uri="{FF2B5EF4-FFF2-40B4-BE49-F238E27FC236}">
                <a16:creationId xmlns:a16="http://schemas.microsoft.com/office/drawing/2014/main" id="{61C31A52-D422-4EAA-B4D0-50D1AFA2471D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894294" y="6626945"/>
            <a:ext cx="48672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eaLnBrk="1" hangingPunct="1">
              <a:defRPr/>
            </a:pPr>
            <a:r>
              <a:rPr lang="de-DE" altLang="de-DE" sz="999" kern="1200">
                <a:solidFill>
                  <a:srgbClr val="697075"/>
                </a:solidFill>
                <a:latin typeface="Arial" pitchFamily="34" charset="0"/>
                <a:ea typeface="ＭＳ Ｐゴシック"/>
              </a:rPr>
              <a:t>Frei verwendbar</a:t>
            </a:r>
            <a:r>
              <a:rPr lang="de-DE" altLang="de-DE" sz="999">
                <a:solidFill>
                  <a:srgbClr val="697075"/>
                </a:solidFill>
              </a:rPr>
              <a:t> </a:t>
            </a:r>
            <a:r>
              <a:rPr lang="de-DE" altLang="de-DE" sz="999" kern="1200">
                <a:solidFill>
                  <a:srgbClr val="697075"/>
                </a:solidFill>
                <a:latin typeface="Arial" pitchFamily="34" charset="0"/>
                <a:ea typeface="ＭＳ Ｐゴシック"/>
                <a:cs typeface="ＭＳ Ｐゴシック"/>
              </a:rPr>
              <a:t>/ © Flender GmbH 2021. Alle Rechte vorbehalten</a:t>
            </a:r>
            <a:r>
              <a:rPr lang="de-DE" altLang="de-DE" sz="999">
                <a:solidFill>
                  <a:srgbClr val="697075"/>
                </a:solidFill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9712362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3">
            <a:extLst>
              <a:ext uri="{FF2B5EF4-FFF2-40B4-BE49-F238E27FC236}">
                <a16:creationId xmlns:a16="http://schemas.microsoft.com/office/drawing/2014/main" id="{AAB74DF6-C7FB-464D-89EB-4E92034B31D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7" t="8574" r="107" b="21609"/>
          <a:stretch/>
        </p:blipFill>
        <p:spPr bwMode="auto">
          <a:xfrm>
            <a:off x="180976" y="989014"/>
            <a:ext cx="11825287" cy="5514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object 37">
            <a:extLst>
              <a:ext uri="{FF2B5EF4-FFF2-40B4-BE49-F238E27FC236}">
                <a16:creationId xmlns:a16="http://schemas.microsoft.com/office/drawing/2014/main" id="{8E74174B-F8A1-4D36-80AA-C786833C065F}"/>
              </a:ext>
            </a:extLst>
          </p:cNvPr>
          <p:cNvSpPr txBox="1"/>
          <p:nvPr/>
        </p:nvSpPr>
        <p:spPr>
          <a:xfrm>
            <a:off x="465139" y="2355080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1681" tIns="71963" rIns="71963" bIns="71963" rtlCol="0" anchor="ctr">
            <a:noAutofit/>
          </a:bodyPr>
          <a:lstStyle>
            <a:defPPr>
              <a:defRPr lang="de-DE"/>
            </a:defPPr>
            <a:lvl1pPr lvl="0">
              <a:defRPr sz="1400" b="1">
                <a:solidFill>
                  <a:schemeClr val="tx1"/>
                </a:solidFill>
              </a:defRPr>
            </a:lvl1pPr>
          </a:lstStyle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9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. XXX</a:t>
            </a:r>
          </a:p>
        </p:txBody>
      </p:sp>
      <p:sp>
        <p:nvSpPr>
          <p:cNvPr id="6" name="object 40">
            <a:extLst>
              <a:ext uri="{FF2B5EF4-FFF2-40B4-BE49-F238E27FC236}">
                <a16:creationId xmlns:a16="http://schemas.microsoft.com/office/drawing/2014/main" id="{8B6269C5-9E4C-4214-AA9D-6281944E68B2}"/>
              </a:ext>
            </a:extLst>
          </p:cNvPr>
          <p:cNvSpPr txBox="1"/>
          <p:nvPr/>
        </p:nvSpPr>
        <p:spPr>
          <a:xfrm>
            <a:off x="465139" y="2855350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1681" tIns="71963" rIns="71963" bIns="71963" rtlCol="0" anchor="ctr">
            <a:noAutofit/>
          </a:bodyPr>
          <a:lstStyle>
            <a:defPPr>
              <a:defRPr lang="de-DE"/>
            </a:defPPr>
            <a:lvl1pPr lvl="0">
              <a:defRPr sz="1400" b="1">
                <a:solidFill>
                  <a:schemeClr val="tx1"/>
                </a:solidFill>
              </a:defRPr>
            </a:lvl1pPr>
          </a:lstStyle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9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. XXX</a:t>
            </a:r>
          </a:p>
        </p:txBody>
      </p:sp>
      <p:sp>
        <p:nvSpPr>
          <p:cNvPr id="7" name="object 43">
            <a:extLst>
              <a:ext uri="{FF2B5EF4-FFF2-40B4-BE49-F238E27FC236}">
                <a16:creationId xmlns:a16="http://schemas.microsoft.com/office/drawing/2014/main" id="{F26B83CB-904B-411D-A39B-608AD4CE5444}"/>
              </a:ext>
            </a:extLst>
          </p:cNvPr>
          <p:cNvSpPr txBox="1"/>
          <p:nvPr/>
        </p:nvSpPr>
        <p:spPr>
          <a:xfrm>
            <a:off x="465139" y="385588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1681" tIns="71963" rIns="71963" bIns="71963" rtlCol="0" anchor="ctr">
            <a:noAutofit/>
          </a:bodyPr>
          <a:lstStyle/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9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5. XXX</a:t>
            </a:r>
            <a:endParaRPr kumimoji="0" lang="en-GB" sz="13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object 46">
            <a:extLst>
              <a:ext uri="{FF2B5EF4-FFF2-40B4-BE49-F238E27FC236}">
                <a16:creationId xmlns:a16="http://schemas.microsoft.com/office/drawing/2014/main" id="{076B3F33-4D74-47C6-AC37-4AD05BD30228}"/>
              </a:ext>
            </a:extLst>
          </p:cNvPr>
          <p:cNvSpPr txBox="1"/>
          <p:nvPr/>
        </p:nvSpPr>
        <p:spPr>
          <a:xfrm>
            <a:off x="465139" y="4356160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1681" tIns="71963" rIns="71963" bIns="71963" rtlCol="0" anchor="ctr">
            <a:noAutofit/>
          </a:bodyPr>
          <a:lstStyle/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9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6. XXX  </a:t>
            </a:r>
            <a:endParaRPr kumimoji="0" lang="en-GB" sz="13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object 52">
            <a:extLst>
              <a:ext uri="{FF2B5EF4-FFF2-40B4-BE49-F238E27FC236}">
                <a16:creationId xmlns:a16="http://schemas.microsoft.com/office/drawing/2014/main" id="{D3442179-722C-49C1-A17E-554EBEFA98A9}"/>
              </a:ext>
            </a:extLst>
          </p:cNvPr>
          <p:cNvSpPr txBox="1"/>
          <p:nvPr/>
        </p:nvSpPr>
        <p:spPr>
          <a:xfrm>
            <a:off x="465139" y="3355620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1681" tIns="71963" rIns="71963" bIns="71963" rtlCol="0" anchor="ctr">
            <a:noAutofit/>
          </a:bodyPr>
          <a:lstStyle/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9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. XXX</a:t>
            </a:r>
            <a:endParaRPr kumimoji="0" lang="en-GB" sz="13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" name="TextBox 75">
            <a:extLst>
              <a:ext uri="{FF2B5EF4-FFF2-40B4-BE49-F238E27FC236}">
                <a16:creationId xmlns:a16="http://schemas.microsoft.com/office/drawing/2014/main" id="{500216DA-1BF6-4223-96B9-F6503511A3E6}"/>
              </a:ext>
            </a:extLst>
          </p:cNvPr>
          <p:cNvSpPr txBox="1">
            <a:spLocks/>
          </p:cNvSpPr>
          <p:nvPr/>
        </p:nvSpPr>
        <p:spPr>
          <a:xfrm>
            <a:off x="465139" y="1485388"/>
            <a:ext cx="2555639" cy="2462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8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en-US" sz="1599">
                <a:solidFill>
                  <a:srgbClr val="227DC6"/>
                </a:solidFill>
                <a:ea typeface="STKaiti"/>
              </a:rPr>
              <a:t>TOPIC</a:t>
            </a:r>
          </a:p>
        </p:txBody>
      </p:sp>
      <p:sp>
        <p:nvSpPr>
          <p:cNvPr id="11" name="object 37">
            <a:extLst>
              <a:ext uri="{FF2B5EF4-FFF2-40B4-BE49-F238E27FC236}">
                <a16:creationId xmlns:a16="http://schemas.microsoft.com/office/drawing/2014/main" id="{886E041B-40E2-4EEB-9DC9-C4D7B6D7CBD7}"/>
              </a:ext>
            </a:extLst>
          </p:cNvPr>
          <p:cNvSpPr txBox="1"/>
          <p:nvPr/>
        </p:nvSpPr>
        <p:spPr>
          <a:xfrm>
            <a:off x="465139" y="1854809"/>
            <a:ext cx="11074590" cy="442593"/>
          </a:xfrm>
          <a:prstGeom prst="rect">
            <a:avLst/>
          </a:prstGeom>
          <a:solidFill>
            <a:srgbClr val="227DC6"/>
          </a:solidFill>
        </p:spPr>
        <p:txBody>
          <a:bodyPr vert="horz" wrap="square" lIns="323831" tIns="71963" rIns="71963" bIns="71963" rtlCol="0" anchor="ctr">
            <a:noAutofit/>
          </a:bodyPr>
          <a:lstStyle>
            <a:defPPr>
              <a:defRPr lang="de-DE"/>
            </a:defPPr>
            <a:lvl1pPr lvl="0">
              <a:defRPr sz="1400" b="1">
                <a:solidFill>
                  <a:schemeClr val="bg1"/>
                </a:solidFill>
              </a:defRPr>
            </a:lvl1pPr>
          </a:lstStyle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. XXX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1C3A5C9-B3DA-4A53-88D6-793BFB0F8CAD}"/>
              </a:ext>
            </a:extLst>
          </p:cNvPr>
          <p:cNvSpPr txBox="1">
            <a:spLocks/>
          </p:cNvSpPr>
          <p:nvPr/>
        </p:nvSpPr>
        <p:spPr>
          <a:xfrm>
            <a:off x="465139" y="41910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sz="2800" baseline="0">
                <a:solidFill>
                  <a:srgbClr val="227DC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indent="0" algn="l" rtl="0" eaLnBrk="0" fontAlgn="base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None/>
              <a:defRPr sz="1600">
                <a:solidFill>
                  <a:srgbClr val="69707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3943" rtl="0" eaLnBrk="0" fontAlgn="base" latinLnBrk="0" hangingPunct="0">
              <a:lnSpc>
                <a:spcPts val="2999"/>
              </a:lnSpc>
              <a:spcBef>
                <a:spcPct val="0"/>
              </a:spcBef>
              <a:spcAft>
                <a:spcPct val="0"/>
              </a:spcAft>
              <a:buClr>
                <a:srgbClr val="227DC6"/>
              </a:buClr>
              <a:buSzTx/>
              <a:buFont typeface="Arial" charset="0"/>
              <a:buNone/>
              <a:tabLst/>
              <a:defRPr/>
            </a:pPr>
            <a:r>
              <a:rPr kumimoji="0" lang="en-GB" sz="2799" b="0" i="0" u="none" strike="noStrike" kern="0" cap="none" spc="0" normalizeH="0" baseline="0" noProof="0">
                <a:ln>
                  <a:noFill/>
                </a:ln>
                <a:solidFill>
                  <a:srgbClr val="227DC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genda</a:t>
            </a:r>
          </a:p>
        </p:txBody>
      </p:sp>
      <p:sp>
        <p:nvSpPr>
          <p:cNvPr id="15" name="Rectangle 47">
            <a:extLst>
              <a:ext uri="{FF2B5EF4-FFF2-40B4-BE49-F238E27FC236}">
                <a16:creationId xmlns:a16="http://schemas.microsoft.com/office/drawing/2014/main" id="{C9575FC4-5374-4B45-B4B1-3438D4E438B3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9" y="6455294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999" b="1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3C9E7A92-CF60-42DB-8046-C14009D7C5E7}" type="slidenum">
              <a:rPr lang="de-DE" smtClean="0"/>
              <a:t>‹Nr.›</a:t>
            </a:fld>
            <a:endParaRPr lang="de-DE"/>
          </a:p>
        </p:txBody>
      </p:sp>
      <p:pic>
        <p:nvPicPr>
          <p:cNvPr id="16" name="Picture 2" descr="C:\Users\Romen-Agentur\Desktop\FL-Logo-RGB-office.wmf">
            <a:extLst>
              <a:ext uri="{FF2B5EF4-FFF2-40B4-BE49-F238E27FC236}">
                <a16:creationId xmlns:a16="http://schemas.microsoft.com/office/drawing/2014/main" id="{3E37EEDA-1AC6-43A0-8DC2-4A97869CCD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6000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dtText Box 133 Id16">
            <a:extLst>
              <a:ext uri="{FF2B5EF4-FFF2-40B4-BE49-F238E27FC236}">
                <a16:creationId xmlns:a16="http://schemas.microsoft.com/office/drawing/2014/main" id="{733C86F4-95AF-4452-A21E-E29E3A0E7F8C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894294" y="6497640"/>
            <a:ext cx="48672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eaLnBrk="1" hangingPunct="1">
              <a:defRPr/>
            </a:pPr>
            <a:r>
              <a:rPr lang="de-DE" altLang="de-DE" sz="999" kern="1200">
                <a:solidFill>
                  <a:srgbClr val="697075"/>
                </a:solidFill>
                <a:latin typeface="Arial" pitchFamily="34" charset="0"/>
                <a:ea typeface="ＭＳ Ｐゴシック"/>
              </a:rPr>
              <a:t>Frei verwendbar</a:t>
            </a:r>
            <a:r>
              <a:rPr lang="de-DE" altLang="de-DE" sz="999">
                <a:solidFill>
                  <a:srgbClr val="697075"/>
                </a:solidFill>
              </a:rPr>
              <a:t> </a:t>
            </a:r>
            <a:r>
              <a:rPr lang="de-DE" altLang="de-DE" sz="999" kern="1200">
                <a:solidFill>
                  <a:srgbClr val="697075"/>
                </a:solidFill>
                <a:latin typeface="Arial" pitchFamily="34" charset="0"/>
                <a:ea typeface="ＭＳ Ｐゴシック"/>
                <a:cs typeface="ＭＳ Ｐゴシック"/>
              </a:rPr>
              <a:t>/ © Flender GmbH 2021. Alle Rechte vorbehalten</a:t>
            </a:r>
            <a:r>
              <a:rPr lang="de-DE" altLang="de-DE" sz="999">
                <a:solidFill>
                  <a:srgbClr val="697075"/>
                </a:solidFill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9571614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3">
            <a:extLst>
              <a:ext uri="{FF2B5EF4-FFF2-40B4-BE49-F238E27FC236}">
                <a16:creationId xmlns:a16="http://schemas.microsoft.com/office/drawing/2014/main" id="{AAB74DF6-C7FB-464D-89EB-4E92034B31D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7" t="8574" r="107" b="21609"/>
          <a:stretch/>
        </p:blipFill>
        <p:spPr bwMode="auto">
          <a:xfrm>
            <a:off x="180976" y="989014"/>
            <a:ext cx="11825287" cy="5514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bject 40">
            <a:extLst>
              <a:ext uri="{FF2B5EF4-FFF2-40B4-BE49-F238E27FC236}">
                <a16:creationId xmlns:a16="http://schemas.microsoft.com/office/drawing/2014/main" id="{8B6269C5-9E4C-4214-AA9D-6281944E68B2}"/>
              </a:ext>
            </a:extLst>
          </p:cNvPr>
          <p:cNvSpPr txBox="1"/>
          <p:nvPr/>
        </p:nvSpPr>
        <p:spPr>
          <a:xfrm>
            <a:off x="465139" y="2855350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1681" tIns="71963" rIns="71963" bIns="71963" rtlCol="0" anchor="ctr">
            <a:noAutofit/>
          </a:bodyPr>
          <a:lstStyle>
            <a:defPPr>
              <a:defRPr lang="de-DE"/>
            </a:defPPr>
            <a:lvl1pPr lvl="0">
              <a:defRPr sz="1400" b="1">
                <a:solidFill>
                  <a:schemeClr val="tx1"/>
                </a:solidFill>
              </a:defRPr>
            </a:lvl1pPr>
          </a:lstStyle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9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. XXX</a:t>
            </a:r>
          </a:p>
        </p:txBody>
      </p:sp>
      <p:sp>
        <p:nvSpPr>
          <p:cNvPr id="7" name="object 43">
            <a:extLst>
              <a:ext uri="{FF2B5EF4-FFF2-40B4-BE49-F238E27FC236}">
                <a16:creationId xmlns:a16="http://schemas.microsoft.com/office/drawing/2014/main" id="{F26B83CB-904B-411D-A39B-608AD4CE5444}"/>
              </a:ext>
            </a:extLst>
          </p:cNvPr>
          <p:cNvSpPr txBox="1"/>
          <p:nvPr/>
        </p:nvSpPr>
        <p:spPr>
          <a:xfrm>
            <a:off x="465139" y="385588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1681" tIns="71963" rIns="71963" bIns="71963" rtlCol="0" anchor="ctr">
            <a:noAutofit/>
          </a:bodyPr>
          <a:lstStyle/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9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5. XXX</a:t>
            </a:r>
            <a:endParaRPr kumimoji="0" lang="en-GB" sz="13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object 46">
            <a:extLst>
              <a:ext uri="{FF2B5EF4-FFF2-40B4-BE49-F238E27FC236}">
                <a16:creationId xmlns:a16="http://schemas.microsoft.com/office/drawing/2014/main" id="{076B3F33-4D74-47C6-AC37-4AD05BD30228}"/>
              </a:ext>
            </a:extLst>
          </p:cNvPr>
          <p:cNvSpPr txBox="1"/>
          <p:nvPr/>
        </p:nvSpPr>
        <p:spPr>
          <a:xfrm>
            <a:off x="465139" y="4356160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1681" tIns="71963" rIns="71963" bIns="71963" rtlCol="0" anchor="ctr">
            <a:noAutofit/>
          </a:bodyPr>
          <a:lstStyle/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9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6. XXX  </a:t>
            </a:r>
            <a:endParaRPr kumimoji="0" lang="en-GB" sz="13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object 52">
            <a:extLst>
              <a:ext uri="{FF2B5EF4-FFF2-40B4-BE49-F238E27FC236}">
                <a16:creationId xmlns:a16="http://schemas.microsoft.com/office/drawing/2014/main" id="{D3442179-722C-49C1-A17E-554EBEFA98A9}"/>
              </a:ext>
            </a:extLst>
          </p:cNvPr>
          <p:cNvSpPr txBox="1"/>
          <p:nvPr/>
        </p:nvSpPr>
        <p:spPr>
          <a:xfrm>
            <a:off x="465139" y="3355620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1681" tIns="71963" rIns="71963" bIns="71963" rtlCol="0" anchor="ctr">
            <a:noAutofit/>
          </a:bodyPr>
          <a:lstStyle/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9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. XXX</a:t>
            </a:r>
            <a:endParaRPr kumimoji="0" lang="en-GB" sz="13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" name="TextBox 75">
            <a:extLst>
              <a:ext uri="{FF2B5EF4-FFF2-40B4-BE49-F238E27FC236}">
                <a16:creationId xmlns:a16="http://schemas.microsoft.com/office/drawing/2014/main" id="{500216DA-1BF6-4223-96B9-F6503511A3E6}"/>
              </a:ext>
            </a:extLst>
          </p:cNvPr>
          <p:cNvSpPr txBox="1">
            <a:spLocks/>
          </p:cNvSpPr>
          <p:nvPr/>
        </p:nvSpPr>
        <p:spPr>
          <a:xfrm>
            <a:off x="465139" y="1485388"/>
            <a:ext cx="2555639" cy="2462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8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en-US" sz="1599">
                <a:solidFill>
                  <a:srgbClr val="227DC6"/>
                </a:solidFill>
                <a:ea typeface="STKaiti"/>
              </a:rPr>
              <a:t>TOPIC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1C3A5C9-B3DA-4A53-88D6-793BFB0F8CAD}"/>
              </a:ext>
            </a:extLst>
          </p:cNvPr>
          <p:cNvSpPr txBox="1">
            <a:spLocks/>
          </p:cNvSpPr>
          <p:nvPr/>
        </p:nvSpPr>
        <p:spPr>
          <a:xfrm>
            <a:off x="465139" y="41910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sz="2800" baseline="0">
                <a:solidFill>
                  <a:srgbClr val="227DC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indent="0" algn="l" rtl="0" eaLnBrk="0" fontAlgn="base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None/>
              <a:defRPr sz="1600">
                <a:solidFill>
                  <a:srgbClr val="69707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3943" rtl="0" eaLnBrk="0" fontAlgn="base" latinLnBrk="0" hangingPunct="0">
              <a:lnSpc>
                <a:spcPts val="2999"/>
              </a:lnSpc>
              <a:spcBef>
                <a:spcPct val="0"/>
              </a:spcBef>
              <a:spcAft>
                <a:spcPct val="0"/>
              </a:spcAft>
              <a:buClr>
                <a:srgbClr val="227DC6"/>
              </a:buClr>
              <a:buSzTx/>
              <a:buFont typeface="Arial" charset="0"/>
              <a:buNone/>
              <a:tabLst/>
              <a:defRPr/>
            </a:pPr>
            <a:r>
              <a:rPr kumimoji="0" lang="en-GB" sz="2799" b="0" i="0" u="none" strike="noStrike" kern="0" cap="none" spc="0" normalizeH="0" baseline="0" noProof="0">
                <a:ln>
                  <a:noFill/>
                </a:ln>
                <a:solidFill>
                  <a:srgbClr val="227DC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genda</a:t>
            </a:r>
          </a:p>
        </p:txBody>
      </p:sp>
      <p:sp>
        <p:nvSpPr>
          <p:cNvPr id="15" name="Rectangle 47">
            <a:extLst>
              <a:ext uri="{FF2B5EF4-FFF2-40B4-BE49-F238E27FC236}">
                <a16:creationId xmlns:a16="http://schemas.microsoft.com/office/drawing/2014/main" id="{C9575FC4-5374-4B45-B4B1-3438D4E438B3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9" y="6455294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999" b="1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3C9E7A92-CF60-42DB-8046-C14009D7C5E7}" type="slidenum">
              <a:rPr lang="de-DE" smtClean="0"/>
              <a:t>‹Nr.›</a:t>
            </a:fld>
            <a:endParaRPr lang="de-DE"/>
          </a:p>
        </p:txBody>
      </p:sp>
      <p:pic>
        <p:nvPicPr>
          <p:cNvPr id="16" name="Picture 2" descr="C:\Users\Romen-Agentur\Desktop\FL-Logo-RGB-office.wmf">
            <a:extLst>
              <a:ext uri="{FF2B5EF4-FFF2-40B4-BE49-F238E27FC236}">
                <a16:creationId xmlns:a16="http://schemas.microsoft.com/office/drawing/2014/main" id="{3E37EEDA-1AC6-43A0-8DC2-4A97869CCD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6000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object 37">
            <a:extLst>
              <a:ext uri="{FF2B5EF4-FFF2-40B4-BE49-F238E27FC236}">
                <a16:creationId xmlns:a16="http://schemas.microsoft.com/office/drawing/2014/main" id="{ECB5E302-2EB3-4584-A4E7-F173D3E86B1A}"/>
              </a:ext>
            </a:extLst>
          </p:cNvPr>
          <p:cNvSpPr txBox="1"/>
          <p:nvPr/>
        </p:nvSpPr>
        <p:spPr>
          <a:xfrm>
            <a:off x="465139" y="2355080"/>
            <a:ext cx="11074590" cy="442593"/>
          </a:xfrm>
          <a:prstGeom prst="rect">
            <a:avLst/>
          </a:prstGeom>
          <a:solidFill>
            <a:srgbClr val="227DC6"/>
          </a:solidFill>
        </p:spPr>
        <p:txBody>
          <a:bodyPr vert="horz" wrap="square" lIns="323831" tIns="71963" rIns="71963" bIns="71963" rtlCol="0" anchor="ctr">
            <a:noAutofit/>
          </a:bodyPr>
          <a:lstStyle>
            <a:defPPr>
              <a:defRPr lang="de-DE"/>
            </a:defPPr>
            <a:lvl1pPr lvl="0">
              <a:defRPr sz="1400" b="1">
                <a:solidFill>
                  <a:schemeClr val="bg1"/>
                </a:solidFill>
              </a:defRPr>
            </a:lvl1pPr>
          </a:lstStyle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2. XXX</a:t>
            </a:r>
          </a:p>
        </p:txBody>
      </p:sp>
      <p:sp>
        <p:nvSpPr>
          <p:cNvPr id="20" name="object 37">
            <a:extLst>
              <a:ext uri="{FF2B5EF4-FFF2-40B4-BE49-F238E27FC236}">
                <a16:creationId xmlns:a16="http://schemas.microsoft.com/office/drawing/2014/main" id="{FF915597-6A8B-4238-872A-7EA6A6AAB0F5}"/>
              </a:ext>
            </a:extLst>
          </p:cNvPr>
          <p:cNvSpPr txBox="1"/>
          <p:nvPr/>
        </p:nvSpPr>
        <p:spPr>
          <a:xfrm>
            <a:off x="465139" y="1854809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1681" tIns="71963" rIns="71963" bIns="71963" rtlCol="0" anchor="ctr">
            <a:noAutofit/>
          </a:bodyPr>
          <a:lstStyle>
            <a:defPPr>
              <a:defRPr lang="de-DE"/>
            </a:defPPr>
            <a:lvl1pPr lvl="0">
              <a:defRPr sz="1400" b="1">
                <a:solidFill>
                  <a:schemeClr val="tx1"/>
                </a:solidFill>
              </a:defRPr>
            </a:lvl1pPr>
          </a:lstStyle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9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. XXX</a:t>
            </a:r>
          </a:p>
        </p:txBody>
      </p:sp>
      <p:sp>
        <p:nvSpPr>
          <p:cNvPr id="17" name="cdtText Box 133 Id16">
            <a:extLst>
              <a:ext uri="{FF2B5EF4-FFF2-40B4-BE49-F238E27FC236}">
                <a16:creationId xmlns:a16="http://schemas.microsoft.com/office/drawing/2014/main" id="{4B76214E-F9B6-435B-A9B6-7A63CE5699ED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894294" y="6497640"/>
            <a:ext cx="48672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eaLnBrk="1" hangingPunct="1">
              <a:defRPr/>
            </a:pPr>
            <a:r>
              <a:rPr lang="de-DE" altLang="de-DE" sz="999" kern="1200">
                <a:solidFill>
                  <a:srgbClr val="697075"/>
                </a:solidFill>
                <a:latin typeface="Arial" pitchFamily="34" charset="0"/>
                <a:ea typeface="ＭＳ Ｐゴシック"/>
              </a:rPr>
              <a:t>Frei verwendbar</a:t>
            </a:r>
            <a:r>
              <a:rPr lang="de-DE" altLang="de-DE" sz="999">
                <a:solidFill>
                  <a:srgbClr val="697075"/>
                </a:solidFill>
              </a:rPr>
              <a:t> </a:t>
            </a:r>
            <a:r>
              <a:rPr lang="de-DE" altLang="de-DE" sz="999" kern="1200">
                <a:solidFill>
                  <a:srgbClr val="697075"/>
                </a:solidFill>
                <a:latin typeface="Arial" pitchFamily="34" charset="0"/>
                <a:ea typeface="ＭＳ Ｐゴシック"/>
                <a:cs typeface="ＭＳ Ｐゴシック"/>
              </a:rPr>
              <a:t>/ © Flender GmbH 2021. Alle Rechte vorbehalten</a:t>
            </a:r>
            <a:r>
              <a:rPr lang="de-DE" altLang="de-DE" sz="999">
                <a:solidFill>
                  <a:srgbClr val="697075"/>
                </a:solidFill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6638600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bg>
      <p:bgPr>
        <a:solidFill>
          <a:srgbClr val="227D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5" descr="C:\Users\Romen-Agentur\Desktop\HCCP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87" t="6368" r="4372" b="1406"/>
          <a:stretch/>
        </p:blipFill>
        <p:spPr bwMode="auto">
          <a:xfrm>
            <a:off x="1" y="-1"/>
            <a:ext cx="12198350" cy="6907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035800" y="1404514"/>
            <a:ext cx="4684713" cy="41246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399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l">
              <a:buFont typeface="Arial" panose="020B0604020202020204" pitchFamily="34" charset="0"/>
              <a:buNone/>
              <a:defRPr sz="1599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de-DE"/>
              <a:t>MAX MUSTERMANN</a:t>
            </a:r>
          </a:p>
          <a:p>
            <a:pPr lvl="1"/>
            <a:r>
              <a:rPr lang="de-DE"/>
              <a:t>Positionsbeschreibung</a:t>
            </a:r>
          </a:p>
          <a:p>
            <a:pPr lvl="1"/>
            <a:r>
              <a:rPr lang="de-DE"/>
              <a:t>Gruppe / Region / Abteilung XY</a:t>
            </a:r>
          </a:p>
          <a:p>
            <a:pPr lvl="1"/>
            <a:endParaRPr lang="de-DE"/>
          </a:p>
          <a:p>
            <a:pPr lvl="1"/>
            <a:r>
              <a:rPr lang="de-DE"/>
              <a:t>Straße</a:t>
            </a:r>
          </a:p>
          <a:p>
            <a:pPr lvl="1"/>
            <a:r>
              <a:rPr lang="de-DE"/>
              <a:t>PLZ / Ort</a:t>
            </a:r>
          </a:p>
          <a:p>
            <a:pPr lvl="1"/>
            <a:r>
              <a:rPr lang="de-DE"/>
              <a:t>Land</a:t>
            </a:r>
          </a:p>
          <a:p>
            <a:pPr lvl="1"/>
            <a:endParaRPr lang="de-DE"/>
          </a:p>
          <a:p>
            <a:pPr lvl="1"/>
            <a:r>
              <a:rPr lang="de-DE"/>
              <a:t>P +49 2871 92 1234</a:t>
            </a:r>
          </a:p>
          <a:p>
            <a:pPr lvl="1"/>
            <a:r>
              <a:rPr lang="de-DE"/>
              <a:t>M +49 152 1234 5678</a:t>
            </a:r>
          </a:p>
          <a:p>
            <a:pPr lvl="1"/>
            <a:r>
              <a:rPr lang="de-DE"/>
              <a:t>max.mustermann@flender.com</a:t>
            </a:r>
          </a:p>
          <a:p>
            <a:pPr lvl="1"/>
            <a:endParaRPr lang="de-DE"/>
          </a:p>
          <a:p>
            <a:pPr lvl="1"/>
            <a:endParaRPr lang="de-DE"/>
          </a:p>
          <a:p>
            <a:pPr lvl="1"/>
            <a:r>
              <a:rPr lang="de-DE"/>
              <a:t>flender.com</a:t>
            </a:r>
          </a:p>
        </p:txBody>
      </p:sp>
      <p:sp>
        <p:nvSpPr>
          <p:cNvPr id="6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9" y="461738"/>
            <a:ext cx="8649259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999"/>
              </a:lnSpc>
              <a:defRPr sz="2799" baseline="0">
                <a:solidFill>
                  <a:srgbClr val="FFFFFF"/>
                </a:solidFill>
              </a:defRPr>
            </a:lvl1pPr>
            <a:lvl2pPr marL="1587" indent="0">
              <a:lnSpc>
                <a:spcPts val="2799"/>
              </a:lnSpc>
              <a:buNone/>
              <a:defRPr sz="1599">
                <a:solidFill>
                  <a:srgbClr val="697075"/>
                </a:solidFill>
              </a:defRPr>
            </a:lvl2pPr>
          </a:lstStyle>
          <a:p>
            <a:pPr lvl="0"/>
            <a:r>
              <a:rPr lang="de-DE"/>
              <a:t>TITEL DURCH KLICKEN HINZUFÜGEN</a:t>
            </a:r>
          </a:p>
        </p:txBody>
      </p:sp>
      <p:pic>
        <p:nvPicPr>
          <p:cNvPr id="7" name="Picture 2" descr="C:\Users\Romen-Agentur\Desktop\FL-Logo-RGB-office.wmf"/>
          <p:cNvPicPr>
            <a:picLocks noChangeAspect="1" noChangeArrowheads="1"/>
          </p:cNvPicPr>
          <p:nvPr/>
        </p:nvPicPr>
        <p:blipFill>
          <a:blip r:embed="rId5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4055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C:\Users\Romen-Agentur\Desktop\PPT-Template-Logoumbau\FL-Keyvisual-negative-office-150dpi-RGB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20514" y="5319484"/>
            <a:ext cx="1800000" cy="905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DF172DA2-D880-48E9-A677-EF4C81DC9EB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5556" b="91667" l="6667" r="94286">
                        <a14:foregroundMark x1="53333" y1="19444" x2="54286" y2="18519"/>
                        <a14:foregroundMark x1="21905" y1="24074" x2="21905" y2="24074"/>
                        <a14:foregroundMark x1="25714" y1="62037" x2="25714" y2="62037"/>
                        <a14:foregroundMark x1="49524" y1="60185" x2="49524" y2="60185"/>
                        <a14:foregroundMark x1="79048" y1="51852" x2="79048" y2="51852"/>
                        <a14:foregroundMark x1="64762" y1="44444" x2="64762" y2="44444"/>
                        <a14:foregroundMark x1="80000" y1="76852" x2="80000" y2="76852"/>
                        <a14:foregroundMark x1="41905" y1="45370" x2="41905" y2="45370"/>
                        <a14:foregroundMark x1="77143" y1="21296" x2="77143" y2="21296"/>
                        <a14:foregroundMark x1="77143" y1="20370" x2="77143" y2="20370"/>
                        <a14:foregroundMark x1="34286" y1="87037" x2="34286" y2="87037"/>
                        <a14:foregroundMark x1="63810" y1="87037" x2="63810" y2="87037"/>
                        <a14:foregroundMark x1="63810" y1="65741" x2="63810" y2="65741"/>
                        <a14:foregroundMark x1="94286" y1="37963" x2="94286" y2="37963"/>
                        <a14:foregroundMark x1="10476" y1="10185" x2="10476" y2="10185"/>
                        <a14:foregroundMark x1="9524" y1="9259" x2="9524" y2="9259"/>
                        <a14:foregroundMark x1="9524" y1="7407" x2="9524" y2="7407"/>
                        <a14:foregroundMark x1="7619" y1="8333" x2="7619" y2="8333"/>
                        <a14:foregroundMark x1="8571" y1="7407" x2="8571" y2="7407"/>
                        <a14:foregroundMark x1="14286" y1="8333" x2="14286" y2="8333"/>
                        <a14:foregroundMark x1="20952" y1="11111" x2="20952" y2="11111"/>
                        <a14:foregroundMark x1="31429" y1="10185" x2="31429" y2="10185"/>
                        <a14:foregroundMark x1="45714" y1="13889" x2="45714" y2="13889"/>
                        <a14:foregroundMark x1="45714" y1="13889" x2="45714" y2="13889"/>
                        <a14:foregroundMark x1="11429" y1="48148" x2="11429" y2="48148"/>
                        <a14:foregroundMark x1="11429" y1="66667" x2="11429" y2="66667"/>
                        <a14:foregroundMark x1="11429" y1="81481" x2="11429" y2="81481"/>
                        <a14:foregroundMark x1="19048" y1="88889" x2="19048" y2="88889"/>
                        <a14:foregroundMark x1="37143" y1="88889" x2="37143" y2="88889"/>
                        <a14:foregroundMark x1="27619" y1="74074" x2="27619" y2="74074"/>
                        <a14:foregroundMark x1="26667" y1="56481" x2="26667" y2="55556"/>
                        <a14:foregroundMark x1="52381" y1="28704" x2="52381" y2="28704"/>
                        <a14:foregroundMark x1="52381" y1="27778" x2="52381" y2="27778"/>
                        <a14:foregroundMark x1="52381" y1="27778" x2="60000" y2="27778"/>
                        <a14:foregroundMark x1="67619" y1="27778" x2="69524" y2="27778"/>
                        <a14:foregroundMark x1="69524" y1="27778" x2="69524" y2="27778"/>
                        <a14:foregroundMark x1="69524" y1="27778" x2="64762" y2="18519"/>
                        <a14:foregroundMark x1="57143" y1="15741" x2="91429" y2="81481"/>
                        <a14:foregroundMark x1="91429" y1="81481" x2="12381" y2="88889"/>
                        <a14:foregroundMark x1="8571" y1="83333" x2="83810" y2="91667"/>
                        <a14:foregroundMark x1="83810" y1="91667" x2="92381" y2="57407"/>
                        <a14:foregroundMark x1="9524" y1="87963" x2="9524" y2="85185"/>
                        <a14:foregroundMark x1="7619" y1="89815" x2="8571" y2="83333"/>
                        <a14:foregroundMark x1="9524" y1="91667" x2="7619" y2="85185"/>
                        <a14:foregroundMark x1="7619" y1="85185" x2="9524" y2="76852"/>
                        <a14:foregroundMark x1="10476" y1="66667" x2="12381" y2="8333"/>
                        <a14:foregroundMark x1="27619" y1="9259" x2="92381" y2="46296"/>
                        <a14:foregroundMark x1="92381" y1="46296" x2="92381" y2="52778"/>
                        <a14:foregroundMark x1="33333" y1="40741" x2="36190" y2="83333"/>
                        <a14:foregroundMark x1="60952" y1="51852" x2="72381" y2="75926"/>
                        <a14:foregroundMark x1="33333" y1="50926" x2="21905" y2="82407"/>
                        <a14:backgroundMark x1="2857" y1="3704" x2="2857" y2="3704"/>
                        <a14:backgroundMark x1="2857" y1="3704" x2="2857" y2="3704"/>
                        <a14:backgroundMark x1="96190" y1="3704" x2="96190" y2="3704"/>
                        <a14:backgroundMark x1="6667" y1="5556" x2="6667" y2="5556"/>
                        <a14:backgroundMark x1="5714" y1="5556" x2="5714" y2="4630"/>
                        <a14:backgroundMark x1="5714" y1="3704" x2="5714" y2="3704"/>
                        <a14:backgroundMark x1="8571" y1="3704" x2="8571" y2="3704"/>
                        <a14:backgroundMark x1="98095" y1="4630" x2="98095" y2="4630"/>
                        <a14:backgroundMark x1="98095" y1="95370" x2="98095" y2="95370"/>
                        <a14:backgroundMark x1="4762" y1="85185" x2="4762" y2="8518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992347" y="5566793"/>
            <a:ext cx="640135" cy="65842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5BB3D02-99BF-4D75-BE92-A2F6187DA71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2469" y="5594223"/>
            <a:ext cx="584226" cy="584226"/>
          </a:xfrm>
          <a:prstGeom prst="rect">
            <a:avLst/>
          </a:prstGeom>
        </p:spPr>
      </p:pic>
      <p:sp>
        <p:nvSpPr>
          <p:cNvPr id="13" name="cdtText Box 133 Id16">
            <a:extLst>
              <a:ext uri="{FF2B5EF4-FFF2-40B4-BE49-F238E27FC236}">
                <a16:creationId xmlns:a16="http://schemas.microsoft.com/office/drawing/2014/main" id="{E6179064-3B91-4BB2-8840-B888F523E11F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891005" y="6497640"/>
            <a:ext cx="48672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eaLnBrk="1" hangingPunct="1">
              <a:defRPr/>
            </a:pPr>
            <a:r>
              <a:rPr lang="de-DE" altLang="de-DE" sz="999">
                <a:solidFill>
                  <a:srgbClr val="FDFDFD"/>
                </a:solidFill>
              </a:rPr>
              <a:t>Frei verwendbar / © Flender GmbH 2021. Alle Rechte vorbehalten.</a:t>
            </a:r>
          </a:p>
        </p:txBody>
      </p:sp>
      <p:sp>
        <p:nvSpPr>
          <p:cNvPr id="12" name="Rectangle 47">
            <a:extLst>
              <a:ext uri="{FF2B5EF4-FFF2-40B4-BE49-F238E27FC236}">
                <a16:creationId xmlns:a16="http://schemas.microsoft.com/office/drawing/2014/main" id="{6DA92B01-9EA7-469D-8FED-B9AD659ACAC9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2"/>
            </p:custDataLst>
          </p:nvPr>
        </p:nvSpPr>
        <p:spPr bwMode="auto">
          <a:xfrm>
            <a:off x="465139" y="6455294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999" b="1">
                <a:solidFill>
                  <a:srgbClr val="697075"/>
                </a:solidFill>
                <a:latin typeface="Arial" panose="020B0604020202020204" pitchFamily="34" charset="0"/>
              </a:defRPr>
            </a:lvl1pPr>
          </a:lstStyle>
          <a:p>
            <a:fld id="{3C9E7A92-CF60-42DB-8046-C14009D7C5E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82350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bg>
      <p:bgPr>
        <a:solidFill>
          <a:srgbClr val="227D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6234113" y="1404514"/>
            <a:ext cx="4702260" cy="47692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399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l">
              <a:buFont typeface="Arial" panose="020B0604020202020204" pitchFamily="34" charset="0"/>
              <a:buNone/>
              <a:defRPr sz="1599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de-DE"/>
              <a:t>MAX MUSTERMANN</a:t>
            </a:r>
          </a:p>
          <a:p>
            <a:pPr lvl="1"/>
            <a:r>
              <a:rPr lang="de-DE"/>
              <a:t>Positionsbeschreibung</a:t>
            </a:r>
          </a:p>
          <a:p>
            <a:pPr lvl="1"/>
            <a:r>
              <a:rPr lang="de-DE"/>
              <a:t>Gruppe / Region / Abteilung XY</a:t>
            </a:r>
          </a:p>
          <a:p>
            <a:pPr lvl="1"/>
            <a:endParaRPr lang="de-DE"/>
          </a:p>
          <a:p>
            <a:pPr lvl="1"/>
            <a:r>
              <a:rPr lang="de-DE"/>
              <a:t>Straße</a:t>
            </a:r>
          </a:p>
          <a:p>
            <a:pPr lvl="1"/>
            <a:r>
              <a:rPr lang="de-DE"/>
              <a:t>PLZ / Ort</a:t>
            </a:r>
          </a:p>
          <a:p>
            <a:pPr lvl="1"/>
            <a:r>
              <a:rPr lang="de-DE"/>
              <a:t>Land</a:t>
            </a:r>
          </a:p>
          <a:p>
            <a:pPr lvl="1"/>
            <a:endParaRPr lang="de-DE"/>
          </a:p>
          <a:p>
            <a:pPr lvl="1"/>
            <a:r>
              <a:rPr lang="de-DE"/>
              <a:t>P +49 2871 92 1234</a:t>
            </a:r>
          </a:p>
          <a:p>
            <a:pPr lvl="1"/>
            <a:r>
              <a:rPr lang="de-DE"/>
              <a:t>M +49 152 1234 5678</a:t>
            </a:r>
          </a:p>
          <a:p>
            <a:pPr lvl="1"/>
            <a:r>
              <a:rPr lang="de-DE"/>
              <a:t>max.mustermann@flender.com</a:t>
            </a:r>
          </a:p>
          <a:p>
            <a:pPr lvl="1"/>
            <a:endParaRPr lang="de-DE"/>
          </a:p>
          <a:p>
            <a:pPr lvl="1"/>
            <a:endParaRPr lang="de-DE"/>
          </a:p>
          <a:p>
            <a:pPr lvl="1"/>
            <a:endParaRPr lang="de-DE"/>
          </a:p>
          <a:p>
            <a:pPr lvl="1"/>
            <a:endParaRPr lang="de-DE"/>
          </a:p>
          <a:p>
            <a:pPr lvl="1"/>
            <a:endParaRPr lang="de-DE"/>
          </a:p>
          <a:p>
            <a:pPr lvl="1"/>
            <a:r>
              <a:rPr lang="de-DE"/>
              <a:t>flender.com</a:t>
            </a:r>
          </a:p>
        </p:txBody>
      </p:sp>
      <p:pic>
        <p:nvPicPr>
          <p:cNvPr id="9" name="Picture 5" descr="C:\Users\Romen-Agentur\Desktop\HCCP2.jpg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063"/>
          <a:stretch/>
        </p:blipFill>
        <p:spPr bwMode="auto">
          <a:xfrm>
            <a:off x="465138" y="1481138"/>
            <a:ext cx="5499100" cy="4692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9" y="461738"/>
            <a:ext cx="8649259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999"/>
              </a:lnSpc>
              <a:defRPr sz="2799" baseline="0">
                <a:solidFill>
                  <a:srgbClr val="FFFFFF"/>
                </a:solidFill>
              </a:defRPr>
            </a:lvl1pPr>
            <a:lvl2pPr marL="1587" indent="0">
              <a:lnSpc>
                <a:spcPts val="2799"/>
              </a:lnSpc>
              <a:buNone/>
              <a:defRPr sz="1599">
                <a:solidFill>
                  <a:srgbClr val="697075"/>
                </a:solidFill>
              </a:defRPr>
            </a:lvl2pPr>
          </a:lstStyle>
          <a:p>
            <a:pPr lvl="0"/>
            <a:r>
              <a:rPr lang="de-DE"/>
              <a:t>TITEL DURCH KLICKEN HINZUFÜGEN</a:t>
            </a:r>
          </a:p>
        </p:txBody>
      </p:sp>
      <p:pic>
        <p:nvPicPr>
          <p:cNvPr id="8" name="Picture 2" descr="C:\Users\Romen-Agentur\Desktop\FL-Logo-RGB-office.wmf"/>
          <p:cNvPicPr>
            <a:picLocks noChangeAspect="1" noChangeArrowheads="1"/>
          </p:cNvPicPr>
          <p:nvPr/>
        </p:nvPicPr>
        <p:blipFill>
          <a:blip r:embed="rId5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4055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C:\Users\Romen-Agentur\Desktop\PPT-Template-Logoumbau\FL-Keyvisual-negative-office-150dpi-RGB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20514" y="5319484"/>
            <a:ext cx="1800000" cy="905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9DC6137-DB19-4715-8B2C-00578AB6EB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5556" b="91667" l="6667" r="94286">
                        <a14:foregroundMark x1="53333" y1="19444" x2="54286" y2="18519"/>
                        <a14:foregroundMark x1="21905" y1="24074" x2="21905" y2="24074"/>
                        <a14:foregroundMark x1="25714" y1="62037" x2="25714" y2="62037"/>
                        <a14:foregroundMark x1="49524" y1="60185" x2="49524" y2="60185"/>
                        <a14:foregroundMark x1="79048" y1="51852" x2="79048" y2="51852"/>
                        <a14:foregroundMark x1="64762" y1="44444" x2="64762" y2="44444"/>
                        <a14:foregroundMark x1="80000" y1="76852" x2="80000" y2="76852"/>
                        <a14:foregroundMark x1="41905" y1="45370" x2="41905" y2="45370"/>
                        <a14:foregroundMark x1="77143" y1="21296" x2="77143" y2="21296"/>
                        <a14:foregroundMark x1="77143" y1="20370" x2="77143" y2="20370"/>
                        <a14:foregroundMark x1="34286" y1="87037" x2="34286" y2="87037"/>
                        <a14:foregroundMark x1="63810" y1="87037" x2="63810" y2="87037"/>
                        <a14:foregroundMark x1="63810" y1="65741" x2="63810" y2="65741"/>
                        <a14:foregroundMark x1="94286" y1="37963" x2="94286" y2="37963"/>
                        <a14:foregroundMark x1="10476" y1="10185" x2="10476" y2="10185"/>
                        <a14:foregroundMark x1="9524" y1="9259" x2="9524" y2="9259"/>
                        <a14:foregroundMark x1="9524" y1="7407" x2="9524" y2="7407"/>
                        <a14:foregroundMark x1="7619" y1="8333" x2="7619" y2="8333"/>
                        <a14:foregroundMark x1="8571" y1="7407" x2="8571" y2="7407"/>
                        <a14:foregroundMark x1="14286" y1="8333" x2="14286" y2="8333"/>
                        <a14:foregroundMark x1="20952" y1="11111" x2="20952" y2="11111"/>
                        <a14:foregroundMark x1="31429" y1="10185" x2="31429" y2="10185"/>
                        <a14:foregroundMark x1="45714" y1="13889" x2="45714" y2="13889"/>
                        <a14:foregroundMark x1="45714" y1="13889" x2="45714" y2="13889"/>
                        <a14:foregroundMark x1="11429" y1="48148" x2="11429" y2="48148"/>
                        <a14:foregroundMark x1="11429" y1="66667" x2="11429" y2="66667"/>
                        <a14:foregroundMark x1="11429" y1="81481" x2="11429" y2="81481"/>
                        <a14:foregroundMark x1="19048" y1="88889" x2="19048" y2="88889"/>
                        <a14:foregroundMark x1="37143" y1="88889" x2="37143" y2="88889"/>
                        <a14:foregroundMark x1="27619" y1="74074" x2="27619" y2="74074"/>
                        <a14:foregroundMark x1="26667" y1="56481" x2="26667" y2="55556"/>
                        <a14:foregroundMark x1="52381" y1="28704" x2="52381" y2="28704"/>
                        <a14:foregroundMark x1="52381" y1="27778" x2="52381" y2="27778"/>
                        <a14:foregroundMark x1="52381" y1="27778" x2="60000" y2="27778"/>
                        <a14:foregroundMark x1="67619" y1="27778" x2="69524" y2="27778"/>
                        <a14:foregroundMark x1="69524" y1="27778" x2="69524" y2="27778"/>
                        <a14:foregroundMark x1="69524" y1="27778" x2="64762" y2="18519"/>
                        <a14:foregroundMark x1="57143" y1="15741" x2="91429" y2="81481"/>
                        <a14:foregroundMark x1="91429" y1="81481" x2="12381" y2="88889"/>
                        <a14:foregroundMark x1="8571" y1="83333" x2="83810" y2="91667"/>
                        <a14:foregroundMark x1="83810" y1="91667" x2="92381" y2="57407"/>
                        <a14:foregroundMark x1="9524" y1="87963" x2="9524" y2="85185"/>
                        <a14:foregroundMark x1="7619" y1="89815" x2="8571" y2="83333"/>
                        <a14:foregroundMark x1="9524" y1="91667" x2="7619" y2="85185"/>
                        <a14:foregroundMark x1="7619" y1="85185" x2="9524" y2="76852"/>
                        <a14:foregroundMark x1="10476" y1="66667" x2="12381" y2="8333"/>
                        <a14:foregroundMark x1="27619" y1="9259" x2="92381" y2="46296"/>
                        <a14:foregroundMark x1="92381" y1="46296" x2="92381" y2="52778"/>
                        <a14:foregroundMark x1="33333" y1="40741" x2="36190" y2="83333"/>
                        <a14:foregroundMark x1="60952" y1="51852" x2="72381" y2="75926"/>
                        <a14:foregroundMark x1="33333" y1="50926" x2="21905" y2="82407"/>
                        <a14:backgroundMark x1="2857" y1="3704" x2="2857" y2="3704"/>
                        <a14:backgroundMark x1="2857" y1="3704" x2="2857" y2="3704"/>
                        <a14:backgroundMark x1="96190" y1="3704" x2="96190" y2="3704"/>
                        <a14:backgroundMark x1="6667" y1="5556" x2="6667" y2="5556"/>
                        <a14:backgroundMark x1="5714" y1="5556" x2="5714" y2="4630"/>
                        <a14:backgroundMark x1="5714" y1="3704" x2="5714" y2="3704"/>
                        <a14:backgroundMark x1="8571" y1="3704" x2="8571" y2="3704"/>
                        <a14:backgroundMark x1="98095" y1="4630" x2="98095" y2="4630"/>
                        <a14:backgroundMark x1="98095" y1="95370" x2="98095" y2="95370"/>
                        <a14:backgroundMark x1="4762" y1="85185" x2="4762" y2="8518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59860" y="5566793"/>
            <a:ext cx="640135" cy="658425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8A0065AA-7387-4E93-9D6B-EE1BF2650BFB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9981" y="5594223"/>
            <a:ext cx="584226" cy="584226"/>
          </a:xfrm>
          <a:prstGeom prst="rect">
            <a:avLst/>
          </a:prstGeom>
        </p:spPr>
      </p:pic>
      <p:sp>
        <p:nvSpPr>
          <p:cNvPr id="15" name="cdtText Box 133 Id16">
            <a:extLst>
              <a:ext uri="{FF2B5EF4-FFF2-40B4-BE49-F238E27FC236}">
                <a16:creationId xmlns:a16="http://schemas.microsoft.com/office/drawing/2014/main" id="{5776FAD7-B775-4E51-88DE-68688990A30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891005" y="6497640"/>
            <a:ext cx="48672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eaLnBrk="1" hangingPunct="1">
              <a:defRPr/>
            </a:pPr>
            <a:r>
              <a:rPr lang="de-DE" altLang="de-DE" sz="999">
                <a:solidFill>
                  <a:srgbClr val="FDFDFD"/>
                </a:solidFill>
              </a:rPr>
              <a:t>Frei verwendbar / © Flender GmbH 2021. Alle Rechte vorbehalten.</a:t>
            </a:r>
          </a:p>
        </p:txBody>
      </p:sp>
      <p:sp>
        <p:nvSpPr>
          <p:cNvPr id="14" name="Rectangle 47">
            <a:extLst>
              <a:ext uri="{FF2B5EF4-FFF2-40B4-BE49-F238E27FC236}">
                <a16:creationId xmlns:a16="http://schemas.microsoft.com/office/drawing/2014/main" id="{6D197D2C-0D2A-4E43-8B7D-CD26FCAEA1FC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2"/>
            </p:custDataLst>
          </p:nvPr>
        </p:nvSpPr>
        <p:spPr bwMode="auto">
          <a:xfrm>
            <a:off x="465139" y="6455294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999" b="1">
                <a:solidFill>
                  <a:schemeClr val="accent6">
                    <a:lumMod val="20000"/>
                    <a:lumOff val="8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3C9E7A92-CF60-42DB-8046-C14009D7C5E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42153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luss mit Bild und Da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5151354" y="1481138"/>
            <a:ext cx="6575510" cy="4692650"/>
          </a:xfrm>
          <a:prstGeom prst="rect">
            <a:avLst/>
          </a:prstGeom>
        </p:spPr>
        <p:txBody>
          <a:bodyPr lIns="270000" tIns="0" rIns="0" bIns="0"/>
          <a:lstStyle>
            <a:lvl1pPr marL="0" indent="0">
              <a:buNone/>
              <a:defRPr sz="2399" baseline="0">
                <a:solidFill>
                  <a:srgbClr val="227CC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l">
              <a:buFont typeface="Arial" panose="020B0604020202020204" pitchFamily="34" charset="0"/>
              <a:buNone/>
              <a:defRPr sz="1599" baseline="0">
                <a:solidFill>
                  <a:srgbClr val="227CC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de-DE"/>
              <a:t>MAX MUSTERMANN</a:t>
            </a:r>
          </a:p>
          <a:p>
            <a:pPr lvl="1"/>
            <a:r>
              <a:rPr lang="de-DE"/>
              <a:t>Positionsbeschreibung</a:t>
            </a:r>
          </a:p>
          <a:p>
            <a:pPr lvl="1"/>
            <a:r>
              <a:rPr lang="de-DE"/>
              <a:t>Gruppe / Region / Abteilung XY</a:t>
            </a:r>
          </a:p>
          <a:p>
            <a:pPr lvl="1"/>
            <a:endParaRPr lang="de-DE"/>
          </a:p>
          <a:p>
            <a:pPr lvl="1"/>
            <a:r>
              <a:rPr lang="de-DE"/>
              <a:t>Straße</a:t>
            </a:r>
          </a:p>
          <a:p>
            <a:pPr lvl="1"/>
            <a:r>
              <a:rPr lang="de-DE"/>
              <a:t>PLZ / Ort</a:t>
            </a:r>
          </a:p>
          <a:p>
            <a:pPr lvl="1"/>
            <a:r>
              <a:rPr lang="de-DE"/>
              <a:t>Land</a:t>
            </a:r>
          </a:p>
          <a:p>
            <a:pPr lvl="1"/>
            <a:endParaRPr lang="de-DE"/>
          </a:p>
          <a:p>
            <a:pPr lvl="1"/>
            <a:r>
              <a:rPr lang="de-DE"/>
              <a:t>P +49 2871 92 1234</a:t>
            </a:r>
          </a:p>
          <a:p>
            <a:pPr lvl="1"/>
            <a:r>
              <a:rPr lang="de-DE"/>
              <a:t>M +49 152 1234 5678</a:t>
            </a:r>
          </a:p>
          <a:p>
            <a:pPr lvl="1"/>
            <a:r>
              <a:rPr lang="de-DE"/>
              <a:t>max.mustermann@flender.com</a:t>
            </a:r>
          </a:p>
          <a:p>
            <a:pPr lvl="1"/>
            <a:endParaRPr lang="de-DE"/>
          </a:p>
          <a:p>
            <a:pPr lvl="1"/>
            <a:endParaRPr lang="de-DE"/>
          </a:p>
          <a:p>
            <a:pPr lvl="1"/>
            <a:endParaRPr lang="de-DE"/>
          </a:p>
          <a:p>
            <a:pPr lvl="1"/>
            <a:endParaRPr lang="de-DE"/>
          </a:p>
          <a:p>
            <a:pPr lvl="1"/>
            <a:endParaRPr lang="de-DE"/>
          </a:p>
          <a:p>
            <a:pPr lvl="1"/>
            <a:r>
              <a:rPr lang="de-DE"/>
              <a:t>flender.com</a:t>
            </a:r>
          </a:p>
        </p:txBody>
      </p:sp>
      <p:sp>
        <p:nvSpPr>
          <p:cNvPr id="7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9" y="41910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999"/>
              </a:lnSpc>
              <a:buNone/>
              <a:defRPr sz="2799" baseline="0">
                <a:solidFill>
                  <a:srgbClr val="227CC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587" indent="0">
              <a:lnSpc>
                <a:spcPts val="2799"/>
              </a:lnSpc>
              <a:buNone/>
              <a:defRPr sz="1599">
                <a:solidFill>
                  <a:srgbClr val="697075"/>
                </a:solidFill>
              </a:defRPr>
            </a:lvl2pPr>
          </a:lstStyle>
          <a:p>
            <a:pPr lvl="0"/>
            <a:r>
              <a:rPr lang="de-DE"/>
              <a:t>Titel durch Klicken hinzufügen</a:t>
            </a:r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5138" y="1481138"/>
            <a:ext cx="4680000" cy="468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ctr" defTabSz="913943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999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3943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fr-FR" noProof="0"/>
              <a:t>Bild durch Klicken hinzufügen</a:t>
            </a:r>
          </a:p>
          <a:p>
            <a:pPr lvl="0"/>
            <a:endParaRPr lang="fr-FR" noProof="0"/>
          </a:p>
        </p:txBody>
      </p:sp>
      <p:sp>
        <p:nvSpPr>
          <p:cNvPr id="6" name="cdtText Box 133 Id16">
            <a:extLst>
              <a:ext uri="{FF2B5EF4-FFF2-40B4-BE49-F238E27FC236}">
                <a16:creationId xmlns:a16="http://schemas.microsoft.com/office/drawing/2014/main" id="{BED4CA89-CBB3-44C9-9463-B621BDD3168F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891005" y="6497640"/>
            <a:ext cx="48672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eaLnBrk="1" hangingPunct="1">
              <a:defRPr/>
            </a:pPr>
            <a:r>
              <a:rPr lang="de-DE" altLang="de-DE" sz="999">
                <a:solidFill>
                  <a:srgbClr val="697075"/>
                </a:solidFill>
              </a:rPr>
              <a:t>Frei verwendbar / © Flender GmbH 2021. Alle Rechte vorbehalten.</a:t>
            </a:r>
          </a:p>
        </p:txBody>
      </p:sp>
      <p:pic>
        <p:nvPicPr>
          <p:cNvPr id="9" name="Picture 2" descr="C:\Users\Romen-Agentur\Desktop\FL-Logo-RGB-office.wmf">
            <a:extLst>
              <a:ext uri="{FF2B5EF4-FFF2-40B4-BE49-F238E27FC236}">
                <a16:creationId xmlns:a16="http://schemas.microsoft.com/office/drawing/2014/main" id="{5CDB0EA3-918D-4A1F-89C6-0016A0EB46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6000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7036FDA9-5FFF-4D21-A31A-03344B5015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26864" y="5268708"/>
            <a:ext cx="1800000" cy="905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47">
            <a:extLst>
              <a:ext uri="{FF2B5EF4-FFF2-40B4-BE49-F238E27FC236}">
                <a16:creationId xmlns:a16="http://schemas.microsoft.com/office/drawing/2014/main" id="{81563465-38FB-4DFD-BE08-54BE74D58845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2"/>
            </p:custDataLst>
          </p:nvPr>
        </p:nvSpPr>
        <p:spPr bwMode="auto">
          <a:xfrm>
            <a:off x="465139" y="6455294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999" b="1">
                <a:solidFill>
                  <a:srgbClr val="697075"/>
                </a:solidFill>
                <a:latin typeface="Arial" panose="020B0604020202020204" pitchFamily="34" charset="0"/>
              </a:defRPr>
            </a:lvl1pPr>
          </a:lstStyle>
          <a:p>
            <a:fld id="{3C9E7A92-CF60-42DB-8046-C14009D7C5E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22696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3">
            <a:extLst>
              <a:ext uri="{FF2B5EF4-FFF2-40B4-BE49-F238E27FC236}">
                <a16:creationId xmlns:a16="http://schemas.microsoft.com/office/drawing/2014/main" id="{AAB74DF6-C7FB-464D-89EB-4E92034B31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7" t="12583" r="107" b="21609"/>
          <a:stretch/>
        </p:blipFill>
        <p:spPr bwMode="auto">
          <a:xfrm>
            <a:off x="465138" y="1376218"/>
            <a:ext cx="11267262" cy="4952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object 37">
            <a:extLst>
              <a:ext uri="{FF2B5EF4-FFF2-40B4-BE49-F238E27FC236}">
                <a16:creationId xmlns:a16="http://schemas.microsoft.com/office/drawing/2014/main" id="{8E74174B-F8A1-4D36-80AA-C786833C065F}"/>
              </a:ext>
            </a:extLst>
          </p:cNvPr>
          <p:cNvSpPr txBox="1"/>
          <p:nvPr userDrawn="1"/>
        </p:nvSpPr>
        <p:spPr>
          <a:xfrm>
            <a:off x="561474" y="2355078"/>
            <a:ext cx="11074590" cy="442593"/>
          </a:xfrm>
          <a:prstGeom prst="rect">
            <a:avLst/>
          </a:prstGeom>
          <a:solidFill>
            <a:srgbClr val="227DC6"/>
          </a:solidFill>
        </p:spPr>
        <p:txBody>
          <a:bodyPr vert="horz" wrap="square" lIns="324000" tIns="72000" rIns="72000" bIns="72000" rtlCol="0" anchor="ctr">
            <a:noAutofit/>
          </a:bodyPr>
          <a:lstStyle>
            <a:defPPr>
              <a:defRPr lang="de-DE"/>
            </a:defPPr>
            <a:lvl1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2. XXX</a:t>
            </a:r>
          </a:p>
        </p:txBody>
      </p:sp>
      <p:sp>
        <p:nvSpPr>
          <p:cNvPr id="6" name="object 40">
            <a:extLst>
              <a:ext uri="{FF2B5EF4-FFF2-40B4-BE49-F238E27FC236}">
                <a16:creationId xmlns:a16="http://schemas.microsoft.com/office/drawing/2014/main" id="{8B6269C5-9E4C-4214-AA9D-6281944E68B2}"/>
              </a:ext>
            </a:extLst>
          </p:cNvPr>
          <p:cNvSpPr txBox="1"/>
          <p:nvPr userDrawn="1"/>
        </p:nvSpPr>
        <p:spPr>
          <a:xfrm>
            <a:off x="561474" y="285534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>
            <a:defPPr>
              <a:defRPr lang="de-DE"/>
            </a:defPPr>
            <a:lvl1pPr lvl="0">
              <a:defRPr sz="1400" b="1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. XXX</a:t>
            </a:r>
          </a:p>
        </p:txBody>
      </p:sp>
      <p:sp>
        <p:nvSpPr>
          <p:cNvPr id="7" name="object 43">
            <a:extLst>
              <a:ext uri="{FF2B5EF4-FFF2-40B4-BE49-F238E27FC236}">
                <a16:creationId xmlns:a16="http://schemas.microsoft.com/office/drawing/2014/main" id="{F26B83CB-904B-411D-A39B-608AD4CE5444}"/>
              </a:ext>
            </a:extLst>
          </p:cNvPr>
          <p:cNvSpPr txBox="1"/>
          <p:nvPr userDrawn="1"/>
        </p:nvSpPr>
        <p:spPr>
          <a:xfrm>
            <a:off x="561474" y="385588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5. XXX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object 46">
            <a:extLst>
              <a:ext uri="{FF2B5EF4-FFF2-40B4-BE49-F238E27FC236}">
                <a16:creationId xmlns:a16="http://schemas.microsoft.com/office/drawing/2014/main" id="{076B3F33-4D74-47C6-AC37-4AD05BD30228}"/>
              </a:ext>
            </a:extLst>
          </p:cNvPr>
          <p:cNvSpPr txBox="1"/>
          <p:nvPr userDrawn="1"/>
        </p:nvSpPr>
        <p:spPr>
          <a:xfrm>
            <a:off x="561474" y="435615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6. XXX  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object 52">
            <a:extLst>
              <a:ext uri="{FF2B5EF4-FFF2-40B4-BE49-F238E27FC236}">
                <a16:creationId xmlns:a16="http://schemas.microsoft.com/office/drawing/2014/main" id="{D3442179-722C-49C1-A17E-554EBEFA98A9}"/>
              </a:ext>
            </a:extLst>
          </p:cNvPr>
          <p:cNvSpPr txBox="1"/>
          <p:nvPr userDrawn="1"/>
        </p:nvSpPr>
        <p:spPr>
          <a:xfrm>
            <a:off x="561474" y="335561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. XXX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" name="object 37">
            <a:extLst>
              <a:ext uri="{FF2B5EF4-FFF2-40B4-BE49-F238E27FC236}">
                <a16:creationId xmlns:a16="http://schemas.microsoft.com/office/drawing/2014/main" id="{886E041B-40E2-4EEB-9DC9-C4D7B6D7CBD7}"/>
              </a:ext>
            </a:extLst>
          </p:cNvPr>
          <p:cNvSpPr txBox="1"/>
          <p:nvPr userDrawn="1"/>
        </p:nvSpPr>
        <p:spPr>
          <a:xfrm>
            <a:off x="561474" y="185480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>
            <a:defPPr>
              <a:defRPr lang="de-DE"/>
            </a:defPPr>
            <a:lvl1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1. XXX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1C3A5C9-B3DA-4A53-88D6-793BFB0F8CAD}"/>
              </a:ext>
            </a:extLst>
          </p:cNvPr>
          <p:cNvSpPr txBox="1">
            <a:spLocks/>
          </p:cNvSpPr>
          <p:nvPr userDrawn="1"/>
        </p:nvSpPr>
        <p:spPr>
          <a:xfrm>
            <a:off x="465138" y="41910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sz="2800" baseline="0">
                <a:solidFill>
                  <a:srgbClr val="227DC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indent="0" algn="l" rtl="0" eaLnBrk="0" fontAlgn="base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None/>
              <a:defRPr sz="1600">
                <a:solidFill>
                  <a:srgbClr val="69707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>
                <a:srgbClr val="227DC6"/>
              </a:buClr>
              <a:buSzTx/>
              <a:buFont typeface="Arial" charset="0"/>
              <a:buNone/>
              <a:tabLst/>
              <a:defRPr/>
            </a:pPr>
            <a:r>
              <a:rPr kumimoji="0" lang="en-GB" sz="2800" b="0" i="0" u="none" strike="noStrike" kern="0" cap="none" spc="0" normalizeH="0" baseline="0" noProof="0">
                <a:ln>
                  <a:noFill/>
                </a:ln>
                <a:solidFill>
                  <a:srgbClr val="227DC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genda</a:t>
            </a:r>
            <a:endParaRPr kumimoji="0" lang="en-GB" sz="2800" b="0" i="0" u="none" strike="noStrike" kern="0" cap="none" spc="0" normalizeH="0" baseline="0" noProof="0" dirty="0">
              <a:ln>
                <a:noFill/>
              </a:ln>
              <a:solidFill>
                <a:srgbClr val="227DC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" name="Rectangle 47">
            <a:extLst>
              <a:ext uri="{FF2B5EF4-FFF2-40B4-BE49-F238E27FC236}">
                <a16:creationId xmlns:a16="http://schemas.microsoft.com/office/drawing/2014/main" id="{C9575FC4-5374-4B45-B4B1-3438D4E438B3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  <p:pic>
        <p:nvPicPr>
          <p:cNvPr id="16" name="Picture 2" descr="C:\Users\Romen-Agentur\Desktop\FL-Logo-RGB-office.wmf">
            <a:extLst>
              <a:ext uri="{FF2B5EF4-FFF2-40B4-BE49-F238E27FC236}">
                <a16:creationId xmlns:a16="http://schemas.microsoft.com/office/drawing/2014/main" id="{3E37EEDA-1AC6-43A0-8DC2-4A97869CCD8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6000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71688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_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5137" y="1481137"/>
            <a:ext cx="4694238" cy="4694238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5424492" y="1481137"/>
            <a:ext cx="6296021" cy="4694237"/>
          </a:xfrm>
          <a:prstGeom prst="rect">
            <a:avLst/>
          </a:prstGeom>
          <a:ln w="3175"/>
        </p:spPr>
        <p:txBody>
          <a:bodyPr lIns="0" tIns="0" rIns="0" bIns="0" anchor="ctr" anchorCtr="0"/>
          <a:lstStyle>
            <a:lvl1pPr>
              <a:defRPr sz="160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endParaRPr lang="de-DE" dirty="0"/>
          </a:p>
        </p:txBody>
      </p:sp>
      <p:sp>
        <p:nvSpPr>
          <p:cNvPr id="8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5" name="Rectangle 47">
            <a:extLst>
              <a:ext uri="{FF2B5EF4-FFF2-40B4-BE49-F238E27FC236}">
                <a16:creationId xmlns:a16="http://schemas.microsoft.com/office/drawing/2014/main" id="{CD8FBE8C-6C9D-4CF4-89D9-D7C5DC77F8F8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32542741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inks_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7035800" y="1481137"/>
            <a:ext cx="4691063" cy="4694237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fr-FR" noProof="0" dirty="0"/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454549" y="1481137"/>
            <a:ext cx="6312964" cy="4694237"/>
          </a:xfrm>
          <a:prstGeom prst="rect">
            <a:avLst/>
          </a:prstGeom>
          <a:ln w="3175"/>
        </p:spPr>
        <p:txBody>
          <a:bodyPr lIns="0" tIns="0" rIns="270000" bIns="0" anchor="ctr" anchorCtr="0"/>
          <a:lstStyle>
            <a:lvl1pPr>
              <a:defRPr sz="160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endParaRPr lang="de-DE" dirty="0"/>
          </a:p>
        </p:txBody>
      </p:sp>
      <p:sp>
        <p:nvSpPr>
          <p:cNvPr id="9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7" name="Rectangle 47">
            <a:extLst>
              <a:ext uri="{FF2B5EF4-FFF2-40B4-BE49-F238E27FC236}">
                <a16:creationId xmlns:a16="http://schemas.microsoft.com/office/drawing/2014/main" id="{C2257564-C91B-496E-9C7F-E0D42D40643E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7626024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465137" y="1481138"/>
            <a:ext cx="11261725" cy="2956203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7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5138" y="4652718"/>
            <a:ext cx="11255375" cy="1522657"/>
          </a:xfrm>
          <a:prstGeom prst="rect">
            <a:avLst/>
          </a:prstGeom>
        </p:spPr>
        <p:txBody>
          <a:bodyPr lIns="0" tIns="0" rIns="0" bIns="0" numCol="2" spcCol="270000"/>
          <a:lstStyle>
            <a:lvl1pPr>
              <a:defRPr sz="160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6" name="Rectangle 47">
            <a:extLst>
              <a:ext uri="{FF2B5EF4-FFF2-40B4-BE49-F238E27FC236}">
                <a16:creationId xmlns:a16="http://schemas.microsoft.com/office/drawing/2014/main" id="{5ED4FC9F-5323-413D-85F7-DC24976D38D6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10582637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chelbilder klein_Text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/>
          <p:cNvSpPr>
            <a:spLocks noGrp="1"/>
          </p:cNvSpPr>
          <p:nvPr>
            <p:ph type="body" sz="quarter" idx="22"/>
          </p:nvPr>
        </p:nvSpPr>
        <p:spPr>
          <a:xfrm>
            <a:off x="465138" y="2923318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34" name="Textplatzhalter 63"/>
          <p:cNvSpPr>
            <a:spLocks noGrp="1"/>
          </p:cNvSpPr>
          <p:nvPr>
            <p:ph type="body" sz="quarter" idx="36"/>
          </p:nvPr>
        </p:nvSpPr>
        <p:spPr>
          <a:xfrm>
            <a:off x="465137" y="5530965"/>
            <a:ext cx="11255376" cy="644410"/>
          </a:xfrm>
          <a:prstGeom prst="rect">
            <a:avLst/>
          </a:prstGeom>
        </p:spPr>
        <p:txBody>
          <a:bodyPr lIns="0" tIns="0" rIns="0" bIns="0" numCol="2" spcCol="270000"/>
          <a:lstStyle>
            <a:lvl1pPr>
              <a:defRPr sz="160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endParaRPr lang="de-DE" dirty="0"/>
          </a:p>
        </p:txBody>
      </p:sp>
      <p:sp>
        <p:nvSpPr>
          <p:cNvPr id="38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69222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69107" y="1481138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65" name="Textplatzhalter 2"/>
          <p:cNvSpPr>
            <a:spLocks noGrp="1"/>
          </p:cNvSpPr>
          <p:nvPr>
            <p:ph type="body" sz="quarter" idx="38"/>
          </p:nvPr>
        </p:nvSpPr>
        <p:spPr>
          <a:xfrm>
            <a:off x="2102092" y="2923318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66" name="Bildplatzhalter 8"/>
          <p:cNvSpPr>
            <a:spLocks noGrp="1"/>
          </p:cNvSpPr>
          <p:nvPr>
            <p:ph type="pic" sz="quarter" idx="39" hasCustomPrompt="1"/>
          </p:nvPr>
        </p:nvSpPr>
        <p:spPr>
          <a:xfrm>
            <a:off x="2105400" y="1481138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67" name="Textplatzhalter 2"/>
          <p:cNvSpPr>
            <a:spLocks noGrp="1"/>
          </p:cNvSpPr>
          <p:nvPr>
            <p:ph type="body" sz="quarter" idx="40"/>
          </p:nvPr>
        </p:nvSpPr>
        <p:spPr>
          <a:xfrm>
            <a:off x="3739046" y="2923318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68" name="Bildplatzhalter 8"/>
          <p:cNvSpPr>
            <a:spLocks noGrp="1"/>
          </p:cNvSpPr>
          <p:nvPr>
            <p:ph type="pic" sz="quarter" idx="41" hasCustomPrompt="1"/>
          </p:nvPr>
        </p:nvSpPr>
        <p:spPr>
          <a:xfrm>
            <a:off x="3741693" y="1481138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69" name="Textplatzhalter 2"/>
          <p:cNvSpPr>
            <a:spLocks noGrp="1"/>
          </p:cNvSpPr>
          <p:nvPr>
            <p:ph type="body" sz="quarter" idx="42"/>
          </p:nvPr>
        </p:nvSpPr>
        <p:spPr>
          <a:xfrm>
            <a:off x="5376000" y="2923318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0" name="Bildplatzhalter 8"/>
          <p:cNvSpPr>
            <a:spLocks noGrp="1"/>
          </p:cNvSpPr>
          <p:nvPr>
            <p:ph type="pic" sz="quarter" idx="43" hasCustomPrompt="1"/>
          </p:nvPr>
        </p:nvSpPr>
        <p:spPr>
          <a:xfrm>
            <a:off x="5377986" y="1481138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71" name="Textplatzhalter 2"/>
          <p:cNvSpPr>
            <a:spLocks noGrp="1"/>
          </p:cNvSpPr>
          <p:nvPr>
            <p:ph type="body" sz="quarter" idx="44"/>
          </p:nvPr>
        </p:nvSpPr>
        <p:spPr>
          <a:xfrm>
            <a:off x="7012954" y="2923318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>
            <p:ph type="pic" sz="quarter" idx="45" hasCustomPrompt="1"/>
          </p:nvPr>
        </p:nvSpPr>
        <p:spPr>
          <a:xfrm>
            <a:off x="7014279" y="1481138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73" name="Textplatzhalter 2"/>
          <p:cNvSpPr>
            <a:spLocks noGrp="1"/>
          </p:cNvSpPr>
          <p:nvPr>
            <p:ph type="body" sz="quarter" idx="46"/>
          </p:nvPr>
        </p:nvSpPr>
        <p:spPr>
          <a:xfrm>
            <a:off x="8649908" y="2923318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47" hasCustomPrompt="1"/>
          </p:nvPr>
        </p:nvSpPr>
        <p:spPr>
          <a:xfrm>
            <a:off x="8650572" y="1481138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75" name="Textplatzhalter 2"/>
          <p:cNvSpPr>
            <a:spLocks noGrp="1"/>
          </p:cNvSpPr>
          <p:nvPr>
            <p:ph type="body" sz="quarter" idx="48"/>
          </p:nvPr>
        </p:nvSpPr>
        <p:spPr>
          <a:xfrm>
            <a:off x="10286863" y="2923318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6" name="Bildplatzhalter 8"/>
          <p:cNvSpPr>
            <a:spLocks noGrp="1"/>
          </p:cNvSpPr>
          <p:nvPr>
            <p:ph type="pic" sz="quarter" idx="49" hasCustomPrompt="1"/>
          </p:nvPr>
        </p:nvSpPr>
        <p:spPr>
          <a:xfrm>
            <a:off x="10286863" y="1481138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77" name="Textplatzhalter 2"/>
          <p:cNvSpPr>
            <a:spLocks noGrp="1"/>
          </p:cNvSpPr>
          <p:nvPr>
            <p:ph type="body" sz="quarter" idx="50"/>
          </p:nvPr>
        </p:nvSpPr>
        <p:spPr>
          <a:xfrm>
            <a:off x="465138" y="4919544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8" name="Bildplatzhalter 8"/>
          <p:cNvSpPr>
            <a:spLocks noGrp="1"/>
          </p:cNvSpPr>
          <p:nvPr>
            <p:ph type="pic" sz="quarter" idx="51" hasCustomPrompt="1"/>
          </p:nvPr>
        </p:nvSpPr>
        <p:spPr>
          <a:xfrm>
            <a:off x="469107" y="3477364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79" name="Textplatzhalter 2"/>
          <p:cNvSpPr>
            <a:spLocks noGrp="1"/>
          </p:cNvSpPr>
          <p:nvPr>
            <p:ph type="body" sz="quarter" idx="52"/>
          </p:nvPr>
        </p:nvSpPr>
        <p:spPr>
          <a:xfrm>
            <a:off x="2102092" y="4919544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80" name="Bildplatzhalter 8"/>
          <p:cNvSpPr>
            <a:spLocks noGrp="1"/>
          </p:cNvSpPr>
          <p:nvPr>
            <p:ph type="pic" sz="quarter" idx="53" hasCustomPrompt="1"/>
          </p:nvPr>
        </p:nvSpPr>
        <p:spPr>
          <a:xfrm>
            <a:off x="2105400" y="3477364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81" name="Textplatzhalter 2"/>
          <p:cNvSpPr>
            <a:spLocks noGrp="1"/>
          </p:cNvSpPr>
          <p:nvPr>
            <p:ph type="body" sz="quarter" idx="54"/>
          </p:nvPr>
        </p:nvSpPr>
        <p:spPr>
          <a:xfrm>
            <a:off x="3739046" y="4919544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82" name="Bildplatzhalter 8"/>
          <p:cNvSpPr>
            <a:spLocks noGrp="1"/>
          </p:cNvSpPr>
          <p:nvPr>
            <p:ph type="pic" sz="quarter" idx="55" hasCustomPrompt="1"/>
          </p:nvPr>
        </p:nvSpPr>
        <p:spPr>
          <a:xfrm>
            <a:off x="3741693" y="3477364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83" name="Textplatzhalter 2"/>
          <p:cNvSpPr>
            <a:spLocks noGrp="1"/>
          </p:cNvSpPr>
          <p:nvPr>
            <p:ph type="body" sz="quarter" idx="56"/>
          </p:nvPr>
        </p:nvSpPr>
        <p:spPr>
          <a:xfrm>
            <a:off x="5376000" y="4919544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84" name="Bildplatzhalter 8"/>
          <p:cNvSpPr>
            <a:spLocks noGrp="1"/>
          </p:cNvSpPr>
          <p:nvPr>
            <p:ph type="pic" sz="quarter" idx="57" hasCustomPrompt="1"/>
          </p:nvPr>
        </p:nvSpPr>
        <p:spPr>
          <a:xfrm>
            <a:off x="5377986" y="3477364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85" name="Textplatzhalter 2"/>
          <p:cNvSpPr>
            <a:spLocks noGrp="1"/>
          </p:cNvSpPr>
          <p:nvPr>
            <p:ph type="body" sz="quarter" idx="58"/>
          </p:nvPr>
        </p:nvSpPr>
        <p:spPr>
          <a:xfrm>
            <a:off x="7012954" y="4919544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86" name="Bildplatzhalter 8"/>
          <p:cNvSpPr>
            <a:spLocks noGrp="1"/>
          </p:cNvSpPr>
          <p:nvPr>
            <p:ph type="pic" sz="quarter" idx="59" hasCustomPrompt="1"/>
          </p:nvPr>
        </p:nvSpPr>
        <p:spPr>
          <a:xfrm>
            <a:off x="7014279" y="3477364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87" name="Textplatzhalter 2"/>
          <p:cNvSpPr>
            <a:spLocks noGrp="1"/>
          </p:cNvSpPr>
          <p:nvPr>
            <p:ph type="body" sz="quarter" idx="60"/>
          </p:nvPr>
        </p:nvSpPr>
        <p:spPr>
          <a:xfrm>
            <a:off x="8649908" y="4919544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61" hasCustomPrompt="1"/>
          </p:nvPr>
        </p:nvSpPr>
        <p:spPr>
          <a:xfrm>
            <a:off x="8650572" y="3477364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89" name="Textplatzhalter 2"/>
          <p:cNvSpPr>
            <a:spLocks noGrp="1"/>
          </p:cNvSpPr>
          <p:nvPr>
            <p:ph type="body" sz="quarter" idx="62"/>
          </p:nvPr>
        </p:nvSpPr>
        <p:spPr>
          <a:xfrm>
            <a:off x="10286863" y="4919544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63" hasCustomPrompt="1"/>
          </p:nvPr>
        </p:nvSpPr>
        <p:spPr>
          <a:xfrm>
            <a:off x="10286863" y="3477364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32" name="Rectangle 47">
            <a:extLst>
              <a:ext uri="{FF2B5EF4-FFF2-40B4-BE49-F238E27FC236}">
                <a16:creationId xmlns:a16="http://schemas.microsoft.com/office/drawing/2014/main" id="{09B11B22-B616-4514-A94E-5E7E52C3BA75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7854043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chelbilder groß_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5137" y="1481137"/>
            <a:ext cx="2216151" cy="2216151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fr-FR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22" hasCustomPrompt="1"/>
          </p:nvPr>
        </p:nvSpPr>
        <p:spPr>
          <a:xfrm>
            <a:off x="5430838" y="1481137"/>
            <a:ext cx="2216151" cy="2216151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fr-FR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23" hasCustomPrompt="1"/>
          </p:nvPr>
        </p:nvSpPr>
        <p:spPr>
          <a:xfrm>
            <a:off x="2951163" y="1481138"/>
            <a:ext cx="2211387" cy="221615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fr-FR" noProof="0" dirty="0"/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24" hasCustomPrompt="1"/>
          </p:nvPr>
        </p:nvSpPr>
        <p:spPr>
          <a:xfrm>
            <a:off x="465138" y="3965574"/>
            <a:ext cx="2209799" cy="2209799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fr-FR" noProof="0" dirty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25" hasCustomPrompt="1"/>
          </p:nvPr>
        </p:nvSpPr>
        <p:spPr>
          <a:xfrm>
            <a:off x="5430838" y="3965575"/>
            <a:ext cx="2209800" cy="22098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fr-FR" noProof="0" dirty="0"/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26" hasCustomPrompt="1"/>
          </p:nvPr>
        </p:nvSpPr>
        <p:spPr>
          <a:xfrm>
            <a:off x="2944812" y="3964049"/>
            <a:ext cx="2217738" cy="2211325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fr-FR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074335" y="1481137"/>
            <a:ext cx="2646178" cy="469423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1600" baseline="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 durch Klicken hinzufügen</a:t>
            </a:r>
          </a:p>
        </p:txBody>
      </p:sp>
      <p:sp>
        <p:nvSpPr>
          <p:cNvPr id="12" name="Rectangle 47">
            <a:extLst>
              <a:ext uri="{FF2B5EF4-FFF2-40B4-BE49-F238E27FC236}">
                <a16:creationId xmlns:a16="http://schemas.microsoft.com/office/drawing/2014/main" id="{D6B7D230-0933-424A-8A51-140473BE4133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9536832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und kleines Bild_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sz="quarter" idx="22"/>
          </p:nvPr>
        </p:nvSpPr>
        <p:spPr>
          <a:xfrm>
            <a:off x="9075660" y="1426409"/>
            <a:ext cx="2644853" cy="253916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endParaRPr lang="de-DE" dirty="0"/>
          </a:p>
        </p:txBody>
      </p:sp>
      <p:sp>
        <p:nvSpPr>
          <p:cNvPr id="13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5137" y="1481137"/>
            <a:ext cx="8342363" cy="4692579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15" name="Bildplatzhalter 7"/>
          <p:cNvSpPr>
            <a:spLocks noGrp="1"/>
          </p:cNvSpPr>
          <p:nvPr>
            <p:ph type="pic" sz="quarter" idx="25" hasCustomPrompt="1"/>
          </p:nvPr>
        </p:nvSpPr>
        <p:spPr>
          <a:xfrm>
            <a:off x="9073733" y="4682988"/>
            <a:ext cx="2646780" cy="1492387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6" name="Rectangle 47">
            <a:extLst>
              <a:ext uri="{FF2B5EF4-FFF2-40B4-BE49-F238E27FC236}">
                <a16:creationId xmlns:a16="http://schemas.microsoft.com/office/drawing/2014/main" id="{AE81D4AD-A278-4C27-AD47-8A62DCCF6880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29259137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39" Type="http://schemas.openxmlformats.org/officeDocument/2006/relationships/tags" Target="../tags/tag23.xml"/><Relationship Id="rId21" Type="http://schemas.openxmlformats.org/officeDocument/2006/relationships/tags" Target="../tags/tag5.xml"/><Relationship Id="rId34" Type="http://schemas.openxmlformats.org/officeDocument/2006/relationships/tags" Target="../tags/tag18.xml"/><Relationship Id="rId42" Type="http://schemas.openxmlformats.org/officeDocument/2006/relationships/tags" Target="../tags/tag26.xml"/><Relationship Id="rId47" Type="http://schemas.openxmlformats.org/officeDocument/2006/relationships/image" Target="../media/image1.w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37" Type="http://schemas.openxmlformats.org/officeDocument/2006/relationships/tags" Target="../tags/tag21.xml"/><Relationship Id="rId40" Type="http://schemas.openxmlformats.org/officeDocument/2006/relationships/tags" Target="../tags/tag24.xml"/><Relationship Id="rId45" Type="http://schemas.openxmlformats.org/officeDocument/2006/relationships/tags" Target="../tags/tag29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36" Type="http://schemas.openxmlformats.org/officeDocument/2006/relationships/tags" Target="../tags/tag2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31" Type="http://schemas.openxmlformats.org/officeDocument/2006/relationships/tags" Target="../tags/tag15.xml"/><Relationship Id="rId44" Type="http://schemas.openxmlformats.org/officeDocument/2006/relationships/tags" Target="../tags/tag2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tags" Target="../tags/tag19.xml"/><Relationship Id="rId43" Type="http://schemas.openxmlformats.org/officeDocument/2006/relationships/tags" Target="../tags/tag27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9.xml"/><Relationship Id="rId33" Type="http://schemas.openxmlformats.org/officeDocument/2006/relationships/tags" Target="../tags/tag17.xml"/><Relationship Id="rId38" Type="http://schemas.openxmlformats.org/officeDocument/2006/relationships/tags" Target="../tags/tag22.xml"/><Relationship Id="rId46" Type="http://schemas.openxmlformats.org/officeDocument/2006/relationships/tags" Target="../tags/tag30.xml"/><Relationship Id="rId20" Type="http://schemas.openxmlformats.org/officeDocument/2006/relationships/tags" Target="../tags/tag4.xml"/><Relationship Id="rId41" Type="http://schemas.openxmlformats.org/officeDocument/2006/relationships/tags" Target="../tags/tag25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26" Type="http://schemas.openxmlformats.org/officeDocument/2006/relationships/tags" Target="../tags/tag62.xml"/><Relationship Id="rId21" Type="http://schemas.openxmlformats.org/officeDocument/2006/relationships/tags" Target="../tags/tag57.xml"/><Relationship Id="rId34" Type="http://schemas.openxmlformats.org/officeDocument/2006/relationships/tags" Target="../tags/tag70.xml"/><Relationship Id="rId7" Type="http://schemas.openxmlformats.org/officeDocument/2006/relationships/slideLayout" Target="../slideLayouts/slideLayout2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tags" Target="../tags/tag61.xml"/><Relationship Id="rId33" Type="http://schemas.openxmlformats.org/officeDocument/2006/relationships/tags" Target="../tags/tag69.xml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29" Type="http://schemas.openxmlformats.org/officeDocument/2006/relationships/tags" Target="../tags/tag65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47.xml"/><Relationship Id="rId24" Type="http://schemas.openxmlformats.org/officeDocument/2006/relationships/tags" Target="../tags/tag60.xml"/><Relationship Id="rId32" Type="http://schemas.openxmlformats.org/officeDocument/2006/relationships/tags" Target="../tags/tag68.xml"/><Relationship Id="rId37" Type="http://schemas.openxmlformats.org/officeDocument/2006/relationships/tags" Target="../tags/tag73.xml"/><Relationship Id="rId5" Type="http://schemas.openxmlformats.org/officeDocument/2006/relationships/slideLayout" Target="../slideLayouts/slideLayout21.xml"/><Relationship Id="rId15" Type="http://schemas.openxmlformats.org/officeDocument/2006/relationships/tags" Target="../tags/tag51.xml"/><Relationship Id="rId23" Type="http://schemas.openxmlformats.org/officeDocument/2006/relationships/tags" Target="../tags/tag59.xml"/><Relationship Id="rId28" Type="http://schemas.openxmlformats.org/officeDocument/2006/relationships/tags" Target="../tags/tag64.xml"/><Relationship Id="rId36" Type="http://schemas.openxmlformats.org/officeDocument/2006/relationships/tags" Target="../tags/tag72.xml"/><Relationship Id="rId10" Type="http://schemas.openxmlformats.org/officeDocument/2006/relationships/theme" Target="../theme/theme2.xml"/><Relationship Id="rId19" Type="http://schemas.openxmlformats.org/officeDocument/2006/relationships/tags" Target="../tags/tag55.xml"/><Relationship Id="rId31" Type="http://schemas.openxmlformats.org/officeDocument/2006/relationships/tags" Target="../tags/tag67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ags" Target="../tags/tag50.xml"/><Relationship Id="rId22" Type="http://schemas.openxmlformats.org/officeDocument/2006/relationships/tags" Target="../tags/tag58.xml"/><Relationship Id="rId27" Type="http://schemas.openxmlformats.org/officeDocument/2006/relationships/tags" Target="../tags/tag63.xml"/><Relationship Id="rId30" Type="http://schemas.openxmlformats.org/officeDocument/2006/relationships/tags" Target="../tags/tag66.xml"/><Relationship Id="rId35" Type="http://schemas.openxmlformats.org/officeDocument/2006/relationships/tags" Target="../tags/tag71.xml"/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72" name="cdtMasterTags_CL1 Id3072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55" name="p4pp footer - cdtTextBox 13 Id19" hidden="1"/>
          <p:cNvSpPr txBox="1"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3787775" y="6597650"/>
            <a:ext cx="841057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482400" bIns="115200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eaLnBrk="1" hangingPunct="1">
              <a:lnSpc>
                <a:spcPct val="110000"/>
              </a:lnSpc>
              <a:spcBef>
                <a:spcPct val="0"/>
              </a:spcBef>
              <a:defRPr/>
            </a:pPr>
            <a:r>
              <a:rPr lang="de-DE" altLang="de-DE" sz="1000">
                <a:solidFill>
                  <a:srgbClr val="000000"/>
                </a:solidFill>
              </a:rPr>
              <a:t>Autor / Abteilung</a:t>
            </a:r>
          </a:p>
        </p:txBody>
      </p:sp>
      <p:sp>
        <p:nvSpPr>
          <p:cNvPr id="1056" name="p4pp date - cdtTextBox 12 Id17" hidden="1"/>
          <p:cNvSpPr txBox="1"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0" y="6597650"/>
            <a:ext cx="3932238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908000" tIns="0" rIns="0" bIns="115200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defRPr/>
            </a:pPr>
            <a:r>
              <a:rPr lang="de-DE" altLang="de-DE" sz="1000">
                <a:solidFill>
                  <a:srgbClr val="000000"/>
                </a:solidFill>
              </a:rPr>
              <a:t>XX.XX.20XX</a:t>
            </a:r>
          </a:p>
        </p:txBody>
      </p:sp>
      <p:sp>
        <p:nvSpPr>
          <p:cNvPr id="1057" name="p4pp page - cdtTextBox 11 Id18" hidden="1"/>
          <p:cNvSpPr txBox="1"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0" y="6597650"/>
            <a:ext cx="176530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26400" tIns="0" rIns="0" bIns="115200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defRPr/>
            </a:pPr>
            <a:r>
              <a:rPr lang="de-DE" altLang="de-DE" sz="1000">
                <a:solidFill>
                  <a:srgbClr val="000000"/>
                </a:solidFill>
              </a:rPr>
              <a:t>Seite </a:t>
            </a:r>
            <a:fld id="{1AA43DC7-25B2-49F7-A7DC-D8F03C5C3057}" type="slidenum">
              <a:rPr lang="de-DE" altLang="de-DE" sz="1000">
                <a:solidFill>
                  <a:srgbClr val="000000"/>
                </a:solidFill>
              </a:rPr>
              <a:pPr eaLnBrk="1" hangingPunct="1">
                <a:lnSpc>
                  <a:spcPct val="110000"/>
                </a:lnSpc>
                <a:spcBef>
                  <a:spcPct val="0"/>
                </a:spcBef>
                <a:defRPr/>
              </a:pPr>
              <a:t>‹Nr.›</a:t>
            </a:fld>
            <a:endParaRPr lang="de-DE" altLang="de-DE" sz="1000">
              <a:solidFill>
                <a:srgbClr val="000000"/>
              </a:solidFill>
            </a:endParaRPr>
          </a:p>
        </p:txBody>
      </p:sp>
      <p:sp>
        <p:nvSpPr>
          <p:cNvPr id="7" name="empower - DO NOT DELETE!!!" hidden="1"/>
          <p:cNvSpPr/>
          <p:nvPr>
            <p:custDataLst>
              <p:tags r:id="rId44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108000" tIns="54000" rIns="108000" bIns="54000" spcCol="72000" anchor="ctr"/>
          <a:lstStyle/>
          <a:p>
            <a:pPr lvl="0" algn="ctr">
              <a:lnSpc>
                <a:spcPct val="110000"/>
              </a:lnSpc>
              <a:buFont typeface="Wingdings" charset="0"/>
              <a:buNone/>
              <a:defRPr/>
            </a:pPr>
            <a:endParaRPr lang="de-DE" b="1" dirty="0" err="1">
              <a:solidFill>
                <a:schemeClr val="tx1"/>
              </a:solidFill>
              <a:latin typeface="Arial" pitchFamily="34" charset="0"/>
              <a:ea typeface="ＭＳ Ｐゴシック" charset="-128"/>
            </a:endParaRPr>
          </a:p>
        </p:txBody>
      </p:sp>
      <p:cxnSp>
        <p:nvCxnSpPr>
          <p:cNvPr id="72" name="Gerade Verbindung 71"/>
          <p:cNvCxnSpPr/>
          <p:nvPr/>
        </p:nvCxnSpPr>
        <p:spPr bwMode="auto">
          <a:xfrm>
            <a:off x="463550" y="6442190"/>
            <a:ext cx="11256963" cy="0"/>
          </a:xfrm>
          <a:prstGeom prst="line">
            <a:avLst/>
          </a:prstGeom>
          <a:solidFill>
            <a:schemeClr val="tx2"/>
          </a:solidFill>
          <a:ln w="6350" cap="flat" cmpd="sng" algn="ctr">
            <a:gradFill>
              <a:gsLst>
                <a:gs pos="0">
                  <a:srgbClr val="BACFEF"/>
                </a:gs>
                <a:gs pos="100000">
                  <a:srgbClr val="227DC6"/>
                </a:gs>
              </a:gsLst>
              <a:lin ang="0" scaled="0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3" name="Gerade Verbindung 102"/>
          <p:cNvCxnSpPr/>
          <p:nvPr/>
        </p:nvCxnSpPr>
        <p:spPr bwMode="auto">
          <a:xfrm>
            <a:off x="465138" y="1216025"/>
            <a:ext cx="11250612" cy="0"/>
          </a:xfrm>
          <a:prstGeom prst="line">
            <a:avLst/>
          </a:prstGeom>
          <a:solidFill>
            <a:schemeClr val="tx2"/>
          </a:solidFill>
          <a:ln w="6350" cap="flat" cmpd="sng" algn="ctr">
            <a:gradFill>
              <a:gsLst>
                <a:gs pos="0">
                  <a:srgbClr val="227DC6"/>
                </a:gs>
                <a:gs pos="100000">
                  <a:srgbClr val="BACFEF"/>
                </a:gs>
              </a:gsLst>
              <a:lin ang="0" scaled="0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1" name="cdtText Box 133 Id16"/>
          <p:cNvSpPr txBox="1"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1263197" y="6497639"/>
            <a:ext cx="10469204" cy="200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marL="0" marR="0" indent="0" algn="just" defTabSz="928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>
                <a:tab pos="11301413" algn="r"/>
              </a:tabLst>
              <a:defRPr/>
            </a:pPr>
            <a:r>
              <a:rPr lang="de-DE" altLang="de-DE" sz="1000" dirty="0">
                <a:solidFill>
                  <a:srgbClr val="697075"/>
                </a:solidFill>
              </a:rPr>
              <a:t>	Marco </a:t>
            </a:r>
            <a:r>
              <a:rPr lang="de-DE" altLang="de-DE" sz="1000" dirty="0" err="1">
                <a:solidFill>
                  <a:srgbClr val="697075"/>
                </a:solidFill>
              </a:rPr>
              <a:t>Kathage</a:t>
            </a:r>
            <a:r>
              <a:rPr lang="de-DE" altLang="de-DE" sz="1000" dirty="0">
                <a:solidFill>
                  <a:srgbClr val="697075"/>
                </a:solidFill>
              </a:rPr>
              <a:t>, Hendrik </a:t>
            </a:r>
            <a:r>
              <a:rPr lang="de-DE" altLang="de-DE" sz="1000" dirty="0" err="1">
                <a:solidFill>
                  <a:srgbClr val="697075"/>
                </a:solidFill>
              </a:rPr>
              <a:t>Reuling</a:t>
            </a:r>
            <a:r>
              <a:rPr lang="de-DE" altLang="de-DE" sz="1000" dirty="0">
                <a:solidFill>
                  <a:srgbClr val="697075"/>
                </a:solidFill>
              </a:rPr>
              <a:t>, Sören Schütze                                                   © Flender GmbH 2023. Alle Rechte vorbehalten.</a:t>
            </a:r>
          </a:p>
        </p:txBody>
      </p:sp>
      <p:grpSp>
        <p:nvGrpSpPr>
          <p:cNvPr id="68" name="Gruppieren 1"/>
          <p:cNvGrpSpPr>
            <a:grpSpLocks/>
          </p:cNvGrpSpPr>
          <p:nvPr/>
        </p:nvGrpSpPr>
        <p:grpSpPr bwMode="auto">
          <a:xfrm>
            <a:off x="-215900" y="-215901"/>
            <a:ext cx="12628562" cy="7289801"/>
            <a:chOff x="-215901" y="-215901"/>
            <a:chExt cx="12629356" cy="7289801"/>
          </a:xfrm>
        </p:grpSpPr>
        <p:cxnSp>
          <p:nvCxnSpPr>
            <p:cNvPr id="69" name="Gerade Verbindung 68"/>
            <p:cNvCxnSpPr/>
            <p:nvPr userDrawn="1"/>
          </p:nvCxnSpPr>
          <p:spPr bwMode="auto">
            <a:xfrm>
              <a:off x="464783" y="-215900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>
              <a:off x="6095998" y="-215900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auto">
            <a:xfrm>
              <a:off x="6232926" y="-215900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105"/>
            <p:cNvCxnSpPr/>
            <p:nvPr userDrawn="1"/>
          </p:nvCxnSpPr>
          <p:spPr bwMode="auto">
            <a:xfrm>
              <a:off x="11720072" y="-215900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7" name="Gerade Verbindung 106"/>
            <p:cNvCxnSpPr/>
            <p:nvPr userDrawn="1"/>
          </p:nvCxnSpPr>
          <p:spPr bwMode="auto">
            <a:xfrm rot="5400000">
              <a:off x="12322962" y="329401"/>
              <a:ext cx="0" cy="177811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8" name="Gerade Verbindung 107"/>
            <p:cNvCxnSpPr/>
            <p:nvPr userDrawn="1"/>
          </p:nvCxnSpPr>
          <p:spPr bwMode="auto">
            <a:xfrm rot="5400000">
              <a:off x="12322962" y="1391041"/>
              <a:ext cx="0" cy="177811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9" name="Gerade Verbindung 108"/>
            <p:cNvCxnSpPr/>
            <p:nvPr userDrawn="1"/>
          </p:nvCxnSpPr>
          <p:spPr bwMode="auto">
            <a:xfrm rot="5400000">
              <a:off x="12323756" y="3605994"/>
              <a:ext cx="0" cy="179399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0" name="Gerade Verbindung 109"/>
            <p:cNvCxnSpPr/>
            <p:nvPr userDrawn="1"/>
          </p:nvCxnSpPr>
          <p:spPr bwMode="auto">
            <a:xfrm rot="5400000">
              <a:off x="12323756" y="3737754"/>
              <a:ext cx="0" cy="179399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1" name="Gerade Verbindung 110"/>
            <p:cNvCxnSpPr/>
            <p:nvPr userDrawn="1"/>
          </p:nvCxnSpPr>
          <p:spPr bwMode="auto">
            <a:xfrm>
              <a:off x="464783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2" name="Gerade Verbindung 111"/>
            <p:cNvCxnSpPr/>
            <p:nvPr userDrawn="1"/>
          </p:nvCxnSpPr>
          <p:spPr bwMode="auto">
            <a:xfrm>
              <a:off x="6766363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3" name="Gerade Verbindung 112"/>
            <p:cNvCxnSpPr/>
            <p:nvPr userDrawn="1"/>
          </p:nvCxnSpPr>
          <p:spPr bwMode="auto">
            <a:xfrm>
              <a:off x="7035064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4" name="Gerade Verbindung 113"/>
            <p:cNvCxnSpPr/>
            <p:nvPr userDrawn="1"/>
          </p:nvCxnSpPr>
          <p:spPr bwMode="auto">
            <a:xfrm>
              <a:off x="11720072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5" name="Gerade Verbindung 114"/>
            <p:cNvCxnSpPr/>
            <p:nvPr userDrawn="1"/>
          </p:nvCxnSpPr>
          <p:spPr bwMode="auto">
            <a:xfrm rot="5400000">
              <a:off x="-126201" y="326225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6" name="Gerade Verbindung 115"/>
            <p:cNvCxnSpPr/>
            <p:nvPr userDrawn="1"/>
          </p:nvCxnSpPr>
          <p:spPr bwMode="auto">
            <a:xfrm rot="5400000">
              <a:off x="-126201" y="1390247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7" name="Gerade Verbindung 116"/>
            <p:cNvCxnSpPr/>
            <p:nvPr userDrawn="1"/>
          </p:nvCxnSpPr>
          <p:spPr bwMode="auto">
            <a:xfrm rot="5400000">
              <a:off x="-126202" y="3606397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8" name="Gerade Verbindung 117"/>
            <p:cNvCxnSpPr/>
            <p:nvPr userDrawn="1"/>
          </p:nvCxnSpPr>
          <p:spPr bwMode="auto">
            <a:xfrm rot="5400000">
              <a:off x="-124615" y="3737763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19" name="Gruppieren 68"/>
            <p:cNvGrpSpPr>
              <a:grpSpLocks/>
            </p:cNvGrpSpPr>
            <p:nvPr userDrawn="1"/>
          </p:nvGrpSpPr>
          <p:grpSpPr bwMode="auto">
            <a:xfrm>
              <a:off x="5161696" y="-215900"/>
              <a:ext cx="268305" cy="179387"/>
              <a:chOff x="7185610" y="-63600"/>
              <a:chExt cx="268305" cy="179392"/>
            </a:xfrm>
          </p:grpSpPr>
          <p:cxnSp>
            <p:nvCxnSpPr>
              <p:cNvPr id="140" name="Gerade Verbindung 139"/>
              <p:cNvCxnSpPr/>
              <p:nvPr userDrawn="1"/>
            </p:nvCxnSpPr>
            <p:spPr bwMode="auto">
              <a:xfrm>
                <a:off x="7185610" y="-63600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1" name="Gerade Verbindung 140"/>
              <p:cNvCxnSpPr/>
              <p:nvPr userDrawn="1"/>
            </p:nvCxnSpPr>
            <p:spPr bwMode="auto">
              <a:xfrm>
                <a:off x="7453915" y="-63600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20" name="Gruppieren 69"/>
            <p:cNvGrpSpPr>
              <a:grpSpLocks/>
            </p:cNvGrpSpPr>
            <p:nvPr userDrawn="1"/>
          </p:nvGrpSpPr>
          <p:grpSpPr bwMode="auto">
            <a:xfrm>
              <a:off x="5161696" y="6894513"/>
              <a:ext cx="267905" cy="179387"/>
              <a:chOff x="7185610" y="-62992"/>
              <a:chExt cx="267905" cy="179392"/>
            </a:xfrm>
          </p:grpSpPr>
          <p:cxnSp>
            <p:nvCxnSpPr>
              <p:cNvPr id="138" name="Gerade Verbindung 137"/>
              <p:cNvCxnSpPr/>
              <p:nvPr userDrawn="1"/>
            </p:nvCxnSpPr>
            <p:spPr bwMode="auto">
              <a:xfrm>
                <a:off x="7185610" y="-62992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9" name="Gerade Verbindung 138"/>
              <p:cNvCxnSpPr/>
              <p:nvPr userDrawn="1"/>
            </p:nvCxnSpPr>
            <p:spPr bwMode="auto">
              <a:xfrm>
                <a:off x="7453515" y="-62992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21" name="Gruppieren 70"/>
            <p:cNvGrpSpPr>
              <a:grpSpLocks/>
            </p:cNvGrpSpPr>
            <p:nvPr userDrawn="1"/>
          </p:nvGrpSpPr>
          <p:grpSpPr bwMode="auto">
            <a:xfrm>
              <a:off x="6766751" y="-215901"/>
              <a:ext cx="2309172" cy="179388"/>
              <a:chOff x="5047526" y="-63601"/>
              <a:chExt cx="2309224" cy="179393"/>
            </a:xfrm>
          </p:grpSpPr>
          <p:cxnSp>
            <p:nvCxnSpPr>
              <p:cNvPr id="134" name="Gerade Verbindung 133"/>
              <p:cNvCxnSpPr/>
              <p:nvPr userDrawn="1"/>
            </p:nvCxnSpPr>
            <p:spPr bwMode="auto">
              <a:xfrm>
                <a:off x="5047526" y="-63601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5" name="Gerade Verbindung 134"/>
              <p:cNvCxnSpPr/>
              <p:nvPr userDrawn="1"/>
            </p:nvCxnSpPr>
            <p:spPr bwMode="auto">
              <a:xfrm>
                <a:off x="5315440" y="-63600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6" name="Gerade Verbindung 135"/>
              <p:cNvCxnSpPr/>
              <p:nvPr userDrawn="1"/>
            </p:nvCxnSpPr>
            <p:spPr bwMode="auto">
              <a:xfrm>
                <a:off x="7087646" y="-63601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7" name="Gerade Verbindung 136"/>
              <p:cNvCxnSpPr/>
              <p:nvPr userDrawn="1"/>
            </p:nvCxnSpPr>
            <p:spPr bwMode="auto">
              <a:xfrm>
                <a:off x="7356750" y="-63600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122" name="Gerade Verbindung 121"/>
            <p:cNvCxnSpPr/>
            <p:nvPr userDrawn="1"/>
          </p:nvCxnSpPr>
          <p:spPr bwMode="auto">
            <a:xfrm rot="5400000">
              <a:off x="-125408" y="987422"/>
              <a:ext cx="0" cy="177811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3" name="Gerade Verbindung 122"/>
            <p:cNvCxnSpPr/>
            <p:nvPr userDrawn="1"/>
          </p:nvCxnSpPr>
          <p:spPr bwMode="auto">
            <a:xfrm rot="5400000">
              <a:off x="-126202" y="6084883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4" name="Gerade Verbindung 123"/>
            <p:cNvCxnSpPr/>
            <p:nvPr userDrawn="1"/>
          </p:nvCxnSpPr>
          <p:spPr bwMode="auto">
            <a:xfrm rot="5400000">
              <a:off x="12323756" y="6084884"/>
              <a:ext cx="0" cy="179399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5" name="Gerade Verbindung 124"/>
            <p:cNvCxnSpPr/>
            <p:nvPr userDrawn="1"/>
          </p:nvCxnSpPr>
          <p:spPr bwMode="auto">
            <a:xfrm rot="5400000">
              <a:off x="12323756" y="986628"/>
              <a:ext cx="0" cy="179399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6" name="Gerade Verbindung 125"/>
            <p:cNvCxnSpPr/>
            <p:nvPr userDrawn="1"/>
          </p:nvCxnSpPr>
          <p:spPr bwMode="auto">
            <a:xfrm rot="5400000">
              <a:off x="-126201" y="3875479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7" name="Gerade Verbindung 126"/>
            <p:cNvCxnSpPr/>
            <p:nvPr userDrawn="1"/>
          </p:nvCxnSpPr>
          <p:spPr bwMode="auto">
            <a:xfrm>
              <a:off x="5963434" y="-215900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8" name="Gerade Verbindung 127"/>
            <p:cNvCxnSpPr/>
            <p:nvPr userDrawn="1"/>
          </p:nvCxnSpPr>
          <p:spPr bwMode="auto">
            <a:xfrm rot="5400000">
              <a:off x="12323756" y="3875071"/>
              <a:ext cx="0" cy="179399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9" name="Gerade Verbindung 128"/>
            <p:cNvCxnSpPr/>
            <p:nvPr userDrawn="1"/>
          </p:nvCxnSpPr>
          <p:spPr bwMode="auto">
            <a:xfrm>
              <a:off x="9075923" y="6894512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0" name="Gerade Verbindung 129"/>
            <p:cNvCxnSpPr/>
            <p:nvPr userDrawn="1"/>
          </p:nvCxnSpPr>
          <p:spPr bwMode="auto">
            <a:xfrm>
              <a:off x="8806825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1" name="Gerade Verbindung 130"/>
            <p:cNvCxnSpPr/>
            <p:nvPr userDrawn="1"/>
          </p:nvCxnSpPr>
          <p:spPr bwMode="auto">
            <a:xfrm>
              <a:off x="6233326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2" name="Gerade Verbindung 131"/>
            <p:cNvCxnSpPr/>
            <p:nvPr userDrawn="1"/>
          </p:nvCxnSpPr>
          <p:spPr bwMode="auto">
            <a:xfrm>
              <a:off x="6096793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3" name="Gerade Verbindung 132"/>
            <p:cNvCxnSpPr/>
            <p:nvPr userDrawn="1"/>
          </p:nvCxnSpPr>
          <p:spPr bwMode="auto">
            <a:xfrm>
              <a:off x="5962639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3" name="Picture 2" descr="C:\Users\Romen-Agentur\Desktop\FL-Logo-RGB-office.wmf"/>
          <p:cNvPicPr>
            <a:picLocks noChangeAspect="1" noChangeArrowheads="1"/>
          </p:cNvPicPr>
          <p:nvPr userDrawn="1"/>
        </p:nvPicPr>
        <p:blipFill>
          <a:blip r:embed="rId4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6000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Rectangle 47">
            <a:extLst>
              <a:ext uri="{FF2B5EF4-FFF2-40B4-BE49-F238E27FC236}">
                <a16:creationId xmlns:a16="http://schemas.microsoft.com/office/drawing/2014/main" id="{FEBE50E8-E0F7-4386-9DF2-A80B320AE514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46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25" r:id="rId1"/>
    <p:sldLayoutId id="2147484153" r:id="rId2"/>
    <p:sldLayoutId id="2147484155" r:id="rId3"/>
    <p:sldLayoutId id="2147484126" r:id="rId4"/>
    <p:sldLayoutId id="2147484127" r:id="rId5"/>
    <p:sldLayoutId id="2147484128" r:id="rId6"/>
    <p:sldLayoutId id="2147484129" r:id="rId7"/>
    <p:sldLayoutId id="2147484141" r:id="rId8"/>
    <p:sldLayoutId id="2147484131" r:id="rId9"/>
    <p:sldLayoutId id="2147484132" r:id="rId10"/>
    <p:sldLayoutId id="2147484137" r:id="rId11"/>
    <p:sldLayoutId id="2147484136" r:id="rId12"/>
    <p:sldLayoutId id="2147484147" r:id="rId13"/>
    <p:sldLayoutId id="2147484138" r:id="rId14"/>
    <p:sldLayoutId id="2147484140" r:id="rId15"/>
    <p:sldLayoutId id="2147484150" r:id="rId1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227DC6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227DC6"/>
          </a:solidFill>
          <a:latin typeface="Arial" charset="0"/>
          <a:ea typeface="ＭＳ Ｐゴシック" charset="-128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227DC6"/>
          </a:solidFill>
          <a:latin typeface="Arial" charset="0"/>
          <a:ea typeface="ＭＳ Ｐゴシック" charset="-128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227DC6"/>
          </a:solidFill>
          <a:latin typeface="Arial" charset="0"/>
          <a:ea typeface="ＭＳ Ｐゴシック" charset="-128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227DC6"/>
          </a:solidFill>
          <a:latin typeface="Arial" charset="0"/>
          <a:ea typeface="ＭＳ Ｐゴシック" charset="-128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charset="0"/>
        <a:defRPr sz="19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 sz="19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 sz="19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 sz="19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 sz="19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72" name="cdtMasterTags_CL1 Id3072"/>
          <p:cNvCxnSpPr/>
          <p:nvPr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55" name="p4pp footer - cdtTextBox 13 Id19" hidden="1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3787776" y="6597650"/>
            <a:ext cx="841057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482149" bIns="115140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eaLnBrk="1" hangingPunct="1">
              <a:lnSpc>
                <a:spcPct val="110000"/>
              </a:lnSpc>
              <a:spcBef>
                <a:spcPct val="0"/>
              </a:spcBef>
              <a:defRPr/>
            </a:pPr>
            <a:r>
              <a:rPr lang="de-DE" altLang="de-DE" sz="999">
                <a:solidFill>
                  <a:srgbClr val="000000"/>
                </a:solidFill>
              </a:rPr>
              <a:t>Autor / Abteilung</a:t>
            </a:r>
          </a:p>
        </p:txBody>
      </p:sp>
      <p:sp>
        <p:nvSpPr>
          <p:cNvPr id="1056" name="p4pp date - cdtTextBox 12 Id17" hidden="1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0" y="6597650"/>
            <a:ext cx="3932238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907007" tIns="0" rIns="0" bIns="115140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defRPr/>
            </a:pPr>
            <a:r>
              <a:rPr lang="de-DE" altLang="de-DE" sz="999">
                <a:solidFill>
                  <a:srgbClr val="000000"/>
                </a:solidFill>
              </a:rPr>
              <a:t>XX.XX.20XX</a:t>
            </a:r>
          </a:p>
        </p:txBody>
      </p:sp>
      <p:sp>
        <p:nvSpPr>
          <p:cNvPr id="1057" name="p4pp page - cdtTextBox 11 Id18" hidden="1"/>
          <p:cNvSpPr txBox="1"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0" y="6597650"/>
            <a:ext cx="176530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26074" tIns="0" rIns="0" bIns="115140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defRPr/>
            </a:pPr>
            <a:r>
              <a:rPr lang="de-DE" altLang="de-DE" sz="999">
                <a:solidFill>
                  <a:srgbClr val="000000"/>
                </a:solidFill>
              </a:rPr>
              <a:t>Seite </a:t>
            </a:r>
            <a:fld id="{6FEA4EDA-AC73-4D34-A165-0327B42CD116}" type="slidenum">
              <a:rPr lang="de-DE" altLang="de-DE" sz="999">
                <a:solidFill>
                  <a:srgbClr val="000000"/>
                </a:solidFill>
              </a:rPr>
              <a:pPr eaLnBrk="1" hangingPunct="1">
                <a:lnSpc>
                  <a:spcPct val="110000"/>
                </a:lnSpc>
                <a:spcBef>
                  <a:spcPct val="0"/>
                </a:spcBef>
                <a:defRPr/>
              </a:pPr>
              <a:t>‹Nr.›</a:t>
            </a:fld>
            <a:endParaRPr lang="de-DE" altLang="de-DE" sz="999">
              <a:solidFill>
                <a:srgbClr val="000000"/>
              </a:solidFill>
            </a:endParaRPr>
          </a:p>
        </p:txBody>
      </p:sp>
      <p:sp>
        <p:nvSpPr>
          <p:cNvPr id="7" name="empower - DO NOT DELETE!!!" hidden="1"/>
          <p:cNvSpPr/>
          <p:nvPr>
            <p:custDataLst>
              <p:tags r:id="rId37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107944" tIns="53972" rIns="107944" bIns="53972" spcCol="72000" anchor="ctr"/>
          <a:lstStyle/>
          <a:p>
            <a:pPr lvl="0" algn="ctr">
              <a:lnSpc>
                <a:spcPct val="110000"/>
              </a:lnSpc>
              <a:buFont typeface="Wingdings" charset="0"/>
              <a:buNone/>
              <a:defRPr/>
            </a:pPr>
            <a:endParaRPr lang="de-DE" sz="1799" b="1" err="1">
              <a:solidFill>
                <a:schemeClr val="tx1"/>
              </a:solidFill>
              <a:latin typeface="Arial" pitchFamily="34" charset="0"/>
              <a:ea typeface="ＭＳ Ｐゴシック" charset="-128"/>
            </a:endParaRPr>
          </a:p>
        </p:txBody>
      </p:sp>
      <p:grpSp>
        <p:nvGrpSpPr>
          <p:cNvPr id="1053" name="Gruppieren 1"/>
          <p:cNvGrpSpPr>
            <a:grpSpLocks/>
          </p:cNvGrpSpPr>
          <p:nvPr/>
        </p:nvGrpSpPr>
        <p:grpSpPr bwMode="auto">
          <a:xfrm>
            <a:off x="-215900" y="-215901"/>
            <a:ext cx="12628562" cy="7289801"/>
            <a:chOff x="-215901" y="-215901"/>
            <a:chExt cx="12629356" cy="7289801"/>
          </a:xfrm>
        </p:grpSpPr>
        <p:cxnSp>
          <p:nvCxnSpPr>
            <p:cNvPr id="65" name="Gerade Verbindung 64"/>
            <p:cNvCxnSpPr/>
            <p:nvPr userDrawn="1"/>
          </p:nvCxnSpPr>
          <p:spPr bwMode="auto">
            <a:xfrm>
              <a:off x="464783" y="-215900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095998" y="-215900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32926" y="-215900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11720072" y="-215900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962" y="329401"/>
              <a:ext cx="0" cy="177811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962" y="1391041"/>
              <a:ext cx="0" cy="177811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3756" y="3605994"/>
              <a:ext cx="0" cy="179399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12323756" y="3737754"/>
              <a:ext cx="0" cy="179399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>
              <a:off x="464783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auto">
            <a:xfrm>
              <a:off x="6766363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105"/>
            <p:cNvCxnSpPr/>
            <p:nvPr userDrawn="1"/>
          </p:nvCxnSpPr>
          <p:spPr bwMode="auto">
            <a:xfrm>
              <a:off x="7035064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8" name="Gerade Verbindung 107"/>
            <p:cNvCxnSpPr/>
            <p:nvPr userDrawn="1"/>
          </p:nvCxnSpPr>
          <p:spPr bwMode="auto">
            <a:xfrm>
              <a:off x="11720072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9" name="Gerade Verbindung 108"/>
            <p:cNvCxnSpPr/>
            <p:nvPr userDrawn="1"/>
          </p:nvCxnSpPr>
          <p:spPr bwMode="auto">
            <a:xfrm rot="5400000">
              <a:off x="-126201" y="326225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0" name="Gerade Verbindung 109"/>
            <p:cNvCxnSpPr/>
            <p:nvPr userDrawn="1"/>
          </p:nvCxnSpPr>
          <p:spPr bwMode="auto">
            <a:xfrm rot="5400000">
              <a:off x="-126201" y="1390247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1" name="Gerade Verbindung 110"/>
            <p:cNvCxnSpPr/>
            <p:nvPr userDrawn="1"/>
          </p:nvCxnSpPr>
          <p:spPr bwMode="auto">
            <a:xfrm rot="5400000">
              <a:off x="-126202" y="3606397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2" name="Gerade Verbindung 111"/>
            <p:cNvCxnSpPr/>
            <p:nvPr userDrawn="1"/>
          </p:nvCxnSpPr>
          <p:spPr bwMode="auto">
            <a:xfrm rot="5400000">
              <a:off x="-124615" y="3737763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073" name="Gruppieren 68"/>
            <p:cNvGrpSpPr>
              <a:grpSpLocks/>
            </p:cNvGrpSpPr>
            <p:nvPr userDrawn="1"/>
          </p:nvGrpSpPr>
          <p:grpSpPr bwMode="auto">
            <a:xfrm>
              <a:off x="5161696" y="-215900"/>
              <a:ext cx="268305" cy="179387"/>
              <a:chOff x="7185610" y="-63600"/>
              <a:chExt cx="268305" cy="179392"/>
            </a:xfrm>
          </p:grpSpPr>
          <p:cxnSp>
            <p:nvCxnSpPr>
              <p:cNvPr id="127" name="Gerade Verbindung 126"/>
              <p:cNvCxnSpPr/>
              <p:nvPr userDrawn="1"/>
            </p:nvCxnSpPr>
            <p:spPr bwMode="auto">
              <a:xfrm>
                <a:off x="7185610" y="-63600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28" name="Gerade Verbindung 127"/>
              <p:cNvCxnSpPr/>
              <p:nvPr userDrawn="1"/>
            </p:nvCxnSpPr>
            <p:spPr bwMode="auto">
              <a:xfrm>
                <a:off x="7453915" y="-63600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074" name="Gruppieren 69"/>
            <p:cNvGrpSpPr>
              <a:grpSpLocks/>
            </p:cNvGrpSpPr>
            <p:nvPr userDrawn="1"/>
          </p:nvGrpSpPr>
          <p:grpSpPr bwMode="auto">
            <a:xfrm>
              <a:off x="5161696" y="6894513"/>
              <a:ext cx="267905" cy="179387"/>
              <a:chOff x="7185610" y="-62992"/>
              <a:chExt cx="267905" cy="179392"/>
            </a:xfrm>
          </p:grpSpPr>
          <p:cxnSp>
            <p:nvCxnSpPr>
              <p:cNvPr id="125" name="Gerade Verbindung 124"/>
              <p:cNvCxnSpPr/>
              <p:nvPr userDrawn="1"/>
            </p:nvCxnSpPr>
            <p:spPr bwMode="auto">
              <a:xfrm>
                <a:off x="7185610" y="-62992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26" name="Gerade Verbindung 125"/>
              <p:cNvCxnSpPr/>
              <p:nvPr userDrawn="1"/>
            </p:nvCxnSpPr>
            <p:spPr bwMode="auto">
              <a:xfrm>
                <a:off x="7453515" y="-62992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075" name="Gruppieren 70"/>
            <p:cNvGrpSpPr>
              <a:grpSpLocks/>
            </p:cNvGrpSpPr>
            <p:nvPr userDrawn="1"/>
          </p:nvGrpSpPr>
          <p:grpSpPr bwMode="auto">
            <a:xfrm>
              <a:off x="6766751" y="-215901"/>
              <a:ext cx="2309172" cy="179388"/>
              <a:chOff x="5047526" y="-63601"/>
              <a:chExt cx="2309224" cy="179393"/>
            </a:xfrm>
          </p:grpSpPr>
          <p:cxnSp>
            <p:nvCxnSpPr>
              <p:cNvPr id="123" name="Gerade Verbindung 122"/>
              <p:cNvCxnSpPr/>
              <p:nvPr userDrawn="1"/>
            </p:nvCxnSpPr>
            <p:spPr bwMode="auto">
              <a:xfrm>
                <a:off x="5047526" y="-63601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24" name="Gerade Verbindung 123"/>
              <p:cNvCxnSpPr/>
              <p:nvPr userDrawn="1"/>
            </p:nvCxnSpPr>
            <p:spPr bwMode="auto">
              <a:xfrm>
                <a:off x="5315440" y="-63600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4" name="Gerade Verbindung 73"/>
              <p:cNvCxnSpPr/>
              <p:nvPr userDrawn="1"/>
            </p:nvCxnSpPr>
            <p:spPr bwMode="auto">
              <a:xfrm>
                <a:off x="7087646" y="-63601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5" name="Gerade Verbindung 74"/>
              <p:cNvCxnSpPr/>
              <p:nvPr userDrawn="1"/>
            </p:nvCxnSpPr>
            <p:spPr bwMode="auto">
              <a:xfrm>
                <a:off x="7356750" y="-63600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117" name="Gerade Verbindung 116"/>
            <p:cNvCxnSpPr/>
            <p:nvPr userDrawn="1"/>
          </p:nvCxnSpPr>
          <p:spPr bwMode="auto">
            <a:xfrm rot="5400000">
              <a:off x="-125408" y="987422"/>
              <a:ext cx="0" cy="177811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8" name="Gerade Verbindung 117"/>
            <p:cNvCxnSpPr/>
            <p:nvPr userDrawn="1"/>
          </p:nvCxnSpPr>
          <p:spPr bwMode="auto">
            <a:xfrm rot="5400000">
              <a:off x="-126202" y="6084883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9" name="Gerade Verbindung 118"/>
            <p:cNvCxnSpPr/>
            <p:nvPr userDrawn="1"/>
          </p:nvCxnSpPr>
          <p:spPr bwMode="auto">
            <a:xfrm rot="5400000">
              <a:off x="12323756" y="6084884"/>
              <a:ext cx="0" cy="179399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0" name="Gerade Verbindung 119"/>
            <p:cNvCxnSpPr/>
            <p:nvPr userDrawn="1"/>
          </p:nvCxnSpPr>
          <p:spPr bwMode="auto">
            <a:xfrm rot="5400000">
              <a:off x="12323756" y="986628"/>
              <a:ext cx="0" cy="179399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-126201" y="3875479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>
              <a:off x="5963434" y="-215900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3756" y="3875071"/>
              <a:ext cx="0" cy="179399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>
              <a:off x="9075923" y="6894512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>
              <a:off x="8806825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33326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6793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5962639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084394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7" r:id="rId1"/>
    <p:sldLayoutId id="2147484158" r:id="rId2"/>
    <p:sldLayoutId id="2147484159" r:id="rId3"/>
    <p:sldLayoutId id="2147484160" r:id="rId4"/>
    <p:sldLayoutId id="2147484161" r:id="rId5"/>
    <p:sldLayoutId id="2147484162" r:id="rId6"/>
    <p:sldLayoutId id="2147484163" r:id="rId7"/>
    <p:sldLayoutId id="2147484164" r:id="rId8"/>
    <p:sldLayoutId id="2147484165" r:id="rId9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1999">
          <a:solidFill>
            <a:srgbClr val="227DC6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99">
          <a:solidFill>
            <a:srgbClr val="227DC6"/>
          </a:solidFill>
          <a:latin typeface="Arial" charset="0"/>
          <a:ea typeface="ＭＳ Ｐゴシック" charset="-128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99">
          <a:solidFill>
            <a:srgbClr val="227DC6"/>
          </a:solidFill>
          <a:latin typeface="Arial" charset="0"/>
          <a:ea typeface="ＭＳ Ｐゴシック" charset="-128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99">
          <a:solidFill>
            <a:srgbClr val="227DC6"/>
          </a:solidFill>
          <a:latin typeface="Arial" charset="0"/>
          <a:ea typeface="ＭＳ Ｐゴシック" charset="-128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99">
          <a:solidFill>
            <a:srgbClr val="227DC6"/>
          </a:solidFill>
          <a:latin typeface="Arial" charset="0"/>
          <a:ea typeface="ＭＳ Ｐゴシック" charset="-128"/>
          <a:cs typeface="Arial" pitchFamily="34" charset="0"/>
        </a:defRPr>
      </a:lvl5pPr>
      <a:lvl6pPr marL="456971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6pPr>
      <a:lvl7pPr marL="913943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7pPr>
      <a:lvl8pPr marL="1370914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8pPr>
      <a:lvl9pPr marL="1827886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charset="0"/>
        <a:defRPr sz="1899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298" indent="-177711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 sz="1899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596" indent="-177711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 sz="1899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7894" indent="-177711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 sz="1899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191" indent="-177711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 sz="1899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178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149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4120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1092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4.png"/><Relationship Id="rId7" Type="http://schemas.microsoft.com/office/2007/relationships/hdphoto" Target="../media/hdphoto4.wd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6.png"/><Relationship Id="rId11" Type="http://schemas.microsoft.com/office/2007/relationships/hdphoto" Target="../media/hdphoto6.wdp"/><Relationship Id="rId5" Type="http://schemas.openxmlformats.org/officeDocument/2006/relationships/image" Target="../media/image15.jpeg"/><Relationship Id="rId10" Type="http://schemas.openxmlformats.org/officeDocument/2006/relationships/image" Target="../media/image18.png"/><Relationship Id="rId4" Type="http://schemas.microsoft.com/office/2007/relationships/hdphoto" Target="../media/hdphoto3.wdp"/><Relationship Id="rId9" Type="http://schemas.microsoft.com/office/2007/relationships/hdphoto" Target="../media/hdphoto5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465138" y="4630738"/>
            <a:ext cx="11261725" cy="1544637"/>
          </a:xfrm>
        </p:spPr>
        <p:txBody>
          <a:bodyPr/>
          <a:lstStyle/>
          <a:p>
            <a:r>
              <a:rPr lang="de-DE" altLang="de-DE" noProof="0" dirty="0"/>
              <a:t>Ruhr </a:t>
            </a:r>
            <a:r>
              <a:rPr lang="de-DE" altLang="de-DE" noProof="0" dirty="0" err="1"/>
              <a:t>TurtleBot</a:t>
            </a:r>
            <a:r>
              <a:rPr lang="de-DE" altLang="de-DE" dirty="0"/>
              <a:t> </a:t>
            </a:r>
            <a:r>
              <a:rPr lang="de-DE" altLang="de-DE" noProof="0" dirty="0"/>
              <a:t>Competition</a:t>
            </a:r>
          </a:p>
          <a:p>
            <a:pPr lvl="1"/>
            <a:r>
              <a:rPr lang="de-DE" altLang="de-DE" sz="2400" noProof="0" dirty="0"/>
              <a:t>Marco </a:t>
            </a:r>
            <a:r>
              <a:rPr lang="de-DE" altLang="de-DE" sz="2400" noProof="0" dirty="0" err="1"/>
              <a:t>Kathage</a:t>
            </a:r>
            <a:r>
              <a:rPr lang="de-DE" altLang="de-DE" sz="2400" noProof="0" dirty="0"/>
              <a:t>, Hendrik </a:t>
            </a:r>
            <a:r>
              <a:rPr lang="de-DE" altLang="de-DE" sz="2400" noProof="0" dirty="0" err="1"/>
              <a:t>Reuling</a:t>
            </a:r>
            <a:r>
              <a:rPr lang="de-DE" altLang="de-DE" sz="2400" noProof="0" dirty="0"/>
              <a:t> und Sören Schütze</a:t>
            </a:r>
          </a:p>
        </p:txBody>
      </p:sp>
      <p:pic>
        <p:nvPicPr>
          <p:cNvPr id="3" name="Bildplatzhalter 2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" t="7471" r="-35" b="46595"/>
          <a:stretch/>
        </p:blipFill>
        <p:spPr>
          <a:xfrm>
            <a:off x="469107" y="1366838"/>
            <a:ext cx="11257756" cy="2908800"/>
          </a:xfr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EA45BDB-00C5-4DD9-A687-281EE18738F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0FD4E35-C64D-4900-9A6C-3FC3842105E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sz="2400" dirty="0"/>
              <a:t>Zusätzliche Pakete</a:t>
            </a:r>
          </a:p>
          <a:p>
            <a:r>
              <a:rPr lang="de-DE" sz="2400" dirty="0"/>
              <a:t>Time-</a:t>
            </a:r>
            <a:r>
              <a:rPr lang="de-DE" sz="2400" dirty="0" err="1"/>
              <a:t>of</a:t>
            </a:r>
            <a:r>
              <a:rPr lang="de-DE" sz="2400" dirty="0"/>
              <a:t>-Flight-Sensoren</a:t>
            </a:r>
          </a:p>
          <a:p>
            <a:r>
              <a:rPr lang="en-US" sz="2400" dirty="0" err="1">
                <a:latin typeface="Arial"/>
                <a:cs typeface="Arial"/>
              </a:rPr>
              <a:t>Nutzung</a:t>
            </a:r>
            <a:r>
              <a:rPr lang="en-US" sz="2400" dirty="0">
                <a:latin typeface="Arial"/>
                <a:cs typeface="Arial"/>
              </a:rPr>
              <a:t> der </a:t>
            </a:r>
            <a:r>
              <a:rPr lang="en-US" sz="2400" dirty="0" err="1">
                <a:latin typeface="Arial"/>
                <a:cs typeface="Arial"/>
              </a:rPr>
              <a:t>Kamera</a:t>
            </a:r>
            <a:r>
              <a:rPr lang="en-US" sz="2400" dirty="0">
                <a:latin typeface="Arial"/>
                <a:cs typeface="Arial"/>
              </a:rPr>
              <a:t> </a:t>
            </a:r>
            <a:r>
              <a:rPr lang="en-US" sz="2400" dirty="0" err="1">
                <a:latin typeface="Arial"/>
                <a:cs typeface="Arial"/>
              </a:rPr>
              <a:t>zur</a:t>
            </a:r>
            <a:r>
              <a:rPr lang="en-US" sz="2400" dirty="0">
                <a:latin typeface="Arial"/>
                <a:cs typeface="Arial"/>
              </a:rPr>
              <a:t> </a:t>
            </a:r>
            <a:r>
              <a:rPr lang="en-US" sz="2400" dirty="0" err="1">
                <a:latin typeface="Arial"/>
                <a:cs typeface="Arial"/>
              </a:rPr>
              <a:t>Hinderniserkennung</a:t>
            </a:r>
            <a:endParaRPr lang="en-US" sz="2400" dirty="0">
              <a:latin typeface="Arial"/>
              <a:cs typeface="Arial"/>
            </a:endParaRPr>
          </a:p>
          <a:p>
            <a:r>
              <a:rPr lang="en-US" sz="2400" dirty="0" err="1">
                <a:latin typeface="Arial"/>
                <a:cs typeface="Arial"/>
              </a:rPr>
              <a:t>Ausblick</a:t>
            </a:r>
            <a:r>
              <a:rPr lang="en-US" sz="2400" dirty="0">
                <a:latin typeface="Arial"/>
                <a:cs typeface="Arial"/>
              </a:rPr>
              <a:t> und </a:t>
            </a:r>
            <a:r>
              <a:rPr lang="en-US" sz="2400" dirty="0" err="1">
                <a:latin typeface="Arial"/>
                <a:cs typeface="Arial"/>
              </a:rPr>
              <a:t>Verbesserungen</a:t>
            </a:r>
            <a:endParaRPr lang="de-DE" sz="24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AADA70C-2961-4456-8C76-2464AA4FEC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A7851A3-7924-47DB-8266-89B486F03506}" type="slidenum">
              <a:rPr lang="en-US" altLang="de-DE" smtClean="0"/>
              <a:pPr/>
              <a:t>2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33036453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ABDD1AC-FFCE-427C-ADE0-28C5A972EBD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Zusätzliche Paket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29CE55A-F1B8-4EC2-A556-2EC71BC8638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 anchor="ctr"/>
          <a:lstStyle/>
          <a:p>
            <a:r>
              <a:rPr lang="de-DE" sz="2400" dirty="0" err="1"/>
              <a:t>teb_local_planner</a:t>
            </a:r>
            <a:endParaRPr lang="de-DE" sz="2400" dirty="0"/>
          </a:p>
          <a:p>
            <a:pPr lvl="2"/>
            <a:r>
              <a:rPr lang="de-DE" sz="2000" dirty="0"/>
              <a:t>Besser einstellbar</a:t>
            </a:r>
          </a:p>
          <a:p>
            <a:pPr lvl="2"/>
            <a:r>
              <a:rPr lang="de-DE" sz="2000" dirty="0"/>
              <a:t>Bessere Verfolgung des globalen Plans</a:t>
            </a:r>
            <a:endParaRPr lang="de-DE" dirty="0"/>
          </a:p>
          <a:p>
            <a:r>
              <a:rPr lang="de-DE" sz="2400" dirty="0" err="1"/>
              <a:t>cmd_vel_mux</a:t>
            </a:r>
            <a:endParaRPr lang="de-DE" sz="2400" dirty="0"/>
          </a:p>
          <a:p>
            <a:pPr lvl="2"/>
            <a:r>
              <a:rPr lang="de-DE" sz="2000" dirty="0"/>
              <a:t>Priorisieren von </a:t>
            </a:r>
            <a:r>
              <a:rPr lang="de-DE" sz="2000" dirty="0" err="1"/>
              <a:t>velocity</a:t>
            </a:r>
            <a:r>
              <a:rPr lang="de-DE" sz="2000" dirty="0"/>
              <a:t> </a:t>
            </a:r>
            <a:r>
              <a:rPr lang="de-DE" sz="2000" dirty="0" err="1"/>
              <a:t>nodes</a:t>
            </a:r>
            <a:endParaRPr lang="de-DE" sz="2000" dirty="0"/>
          </a:p>
          <a:p>
            <a:pPr lvl="2"/>
            <a:r>
              <a:rPr lang="de-DE" sz="2000" dirty="0"/>
              <a:t>z.B. Navigation, Joystick, Skripte</a:t>
            </a:r>
          </a:p>
          <a:p>
            <a:pPr lvl="2"/>
            <a:r>
              <a:rPr lang="de-DE" sz="2000" dirty="0"/>
              <a:t>Auf </a:t>
            </a:r>
            <a:r>
              <a:rPr lang="de-DE" sz="2000" dirty="0" err="1"/>
              <a:t>cmd_vel</a:t>
            </a:r>
            <a:r>
              <a:rPr lang="de-DE" sz="2000" dirty="0"/>
              <a:t> übertragen</a:t>
            </a:r>
          </a:p>
          <a:p>
            <a:r>
              <a:rPr lang="de-DE" sz="2400" dirty="0" err="1"/>
              <a:t>rqt_reconfigure</a:t>
            </a:r>
            <a:endParaRPr lang="de-DE" sz="2400" dirty="0"/>
          </a:p>
          <a:p>
            <a:pPr lvl="2"/>
            <a:r>
              <a:rPr lang="de-DE" sz="2000" dirty="0"/>
              <a:t>Live Änderung von Parametern</a:t>
            </a:r>
          </a:p>
          <a:p>
            <a:pPr lvl="2"/>
            <a:r>
              <a:rPr lang="de-DE" sz="2000" dirty="0"/>
              <a:t>Übersicht aller Parameter</a:t>
            </a:r>
          </a:p>
          <a:p>
            <a:pPr lvl="2"/>
            <a:endParaRPr lang="de-DE" sz="24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1DB310-7A6E-463F-8F1B-E51C133F53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A7851A3-7924-47DB-8266-89B486F03506}" type="slidenum">
              <a:rPr lang="en-US" altLang="de-DE" smtClean="0"/>
              <a:pPr/>
              <a:t>3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35119475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ABDD1AC-FFCE-427C-ADE0-28C5A972EBD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Time-</a:t>
            </a:r>
            <a:r>
              <a:rPr lang="de-DE" dirty="0" err="1"/>
              <a:t>of</a:t>
            </a:r>
            <a:r>
              <a:rPr lang="de-DE" dirty="0"/>
              <a:t>-Flight-Sensoren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29CE55A-F1B8-4EC2-A556-2EC71BC8638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 anchor="ctr"/>
          <a:lstStyle/>
          <a:p>
            <a:r>
              <a:rPr lang="de-DE" dirty="0"/>
              <a:t>Problem: Sensor erkennt manchmal Objekte, die nicht da sind</a:t>
            </a:r>
          </a:p>
          <a:p>
            <a:pPr lvl="2"/>
            <a:r>
              <a:rPr lang="de-DE" dirty="0"/>
              <a:t>Liegt wahrscheinlich an anderer Lichtquelle oder Reflektion</a:t>
            </a:r>
          </a:p>
          <a:p>
            <a:pPr lvl="2"/>
            <a:r>
              <a:rPr lang="de-DE" dirty="0"/>
              <a:t>Führt dazu, dass </a:t>
            </a:r>
            <a:r>
              <a:rPr lang="de-DE" dirty="0" err="1"/>
              <a:t>Costmap</a:t>
            </a:r>
            <a:r>
              <a:rPr lang="de-DE" dirty="0"/>
              <a:t> nicht mehr stimmt, bzw. Wege versperrt werden</a:t>
            </a:r>
          </a:p>
          <a:p>
            <a:r>
              <a:rPr lang="de-DE" dirty="0"/>
              <a:t>Lösungsansatz 1:</a:t>
            </a:r>
          </a:p>
          <a:p>
            <a:pPr lvl="2"/>
            <a:r>
              <a:rPr lang="de-DE" dirty="0"/>
              <a:t>Werte mitteln</a:t>
            </a:r>
          </a:p>
          <a:p>
            <a:pPr lvl="2"/>
            <a:r>
              <a:rPr lang="de-DE" dirty="0"/>
              <a:t>Vor Hindernis anhalten, ggf. Rückwärtsfahren und seitlich wegfahren</a:t>
            </a:r>
          </a:p>
          <a:p>
            <a:pPr lvl="2"/>
            <a:r>
              <a:rPr lang="de-DE" dirty="0"/>
              <a:t>Eintragen des Hindernisses in die </a:t>
            </a:r>
            <a:r>
              <a:rPr lang="de-DE" dirty="0" err="1"/>
              <a:t>Costmap</a:t>
            </a:r>
            <a:endParaRPr lang="de-DE" dirty="0"/>
          </a:p>
          <a:p>
            <a:pPr lvl="2"/>
            <a:r>
              <a:rPr lang="de-DE" dirty="0"/>
              <a:t>Clearing über Skript</a:t>
            </a:r>
          </a:p>
          <a:p>
            <a:pPr lvl="2"/>
            <a:endParaRPr lang="de-DE" dirty="0"/>
          </a:p>
          <a:p>
            <a:pPr lvl="2"/>
            <a:r>
              <a:rPr lang="de-DE" dirty="0"/>
              <a:t>Durch Clearing wurde das Problem mit nicht vorhandenen Hindernissen behoben</a:t>
            </a:r>
          </a:p>
          <a:p>
            <a:pPr lvl="2"/>
            <a:r>
              <a:rPr lang="de-DE" dirty="0"/>
              <a:t>Clearing führte manchmal zum falschen Global Path</a:t>
            </a:r>
          </a:p>
          <a:p>
            <a:pPr lvl="2"/>
            <a:r>
              <a:rPr lang="de-DE" dirty="0"/>
              <a:t>Hohe Anzahl an Werten für Mittelung -&gt; Hindernisse zu spät erkannt</a:t>
            </a:r>
          </a:p>
          <a:p>
            <a:pPr lvl="2"/>
            <a:r>
              <a:rPr lang="de-DE" dirty="0"/>
              <a:t>Umfahren des Hindernisses manchmal nicht schnell genug -&gt; Clearing</a:t>
            </a:r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1DB310-7A6E-463F-8F1B-E51C133F53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A7851A3-7924-47DB-8266-89B486F03506}" type="slidenum">
              <a:rPr lang="en-US" altLang="de-DE" smtClean="0"/>
              <a:pPr/>
              <a:t>4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217453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ABDD1AC-FFCE-427C-ADE0-28C5A972EBD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Time-</a:t>
            </a:r>
            <a:r>
              <a:rPr lang="de-DE" dirty="0" err="1"/>
              <a:t>of</a:t>
            </a:r>
            <a:r>
              <a:rPr lang="de-DE" dirty="0"/>
              <a:t>-Flight-Sensoren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29CE55A-F1B8-4EC2-A556-2EC71BC8638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 anchor="ctr"/>
          <a:lstStyle/>
          <a:p>
            <a:r>
              <a:rPr lang="de-DE" dirty="0"/>
              <a:t>Lösungsansatz 2:</a:t>
            </a:r>
          </a:p>
          <a:p>
            <a:pPr lvl="2"/>
            <a:r>
              <a:rPr lang="de-DE" dirty="0"/>
              <a:t>Mithilfe vom Abstand Lineare- und Winkelgeschwindigkeit regeln</a:t>
            </a:r>
          </a:p>
          <a:p>
            <a:pPr lvl="2"/>
            <a:r>
              <a:rPr lang="de-DE" dirty="0"/>
              <a:t>Navigationssignal überschreiben</a:t>
            </a:r>
          </a:p>
          <a:p>
            <a:pPr lvl="2"/>
            <a:r>
              <a:rPr lang="de-DE" dirty="0"/>
              <a:t>Clearing kann durch Lidar in der </a:t>
            </a:r>
            <a:r>
              <a:rPr lang="de-DE" dirty="0" err="1"/>
              <a:t>Costmap</a:t>
            </a:r>
            <a:r>
              <a:rPr lang="de-DE" dirty="0"/>
              <a:t> erfolgen</a:t>
            </a:r>
          </a:p>
          <a:p>
            <a:pPr lvl="2"/>
            <a:r>
              <a:rPr lang="de-DE" dirty="0"/>
              <a:t>Hindernisse werden nicht mehr in </a:t>
            </a:r>
            <a:r>
              <a:rPr lang="de-DE" dirty="0" err="1"/>
              <a:t>Costmap</a:t>
            </a:r>
            <a:r>
              <a:rPr lang="de-DE" dirty="0"/>
              <a:t> gezeichnet</a:t>
            </a:r>
          </a:p>
          <a:p>
            <a:pPr lvl="2"/>
            <a:endParaRPr lang="de-DE" dirty="0"/>
          </a:p>
          <a:p>
            <a:pPr lvl="2"/>
            <a:r>
              <a:rPr lang="de-DE" dirty="0"/>
              <a:t>Roboter wird bei Störungen nur noch leicht vom globalen Weg abgebracht</a:t>
            </a:r>
          </a:p>
          <a:p>
            <a:pPr lvl="2"/>
            <a:r>
              <a:rPr lang="de-DE" dirty="0"/>
              <a:t>Hindernisse sollten im Optimalfall beidseitig umfahren werden können</a:t>
            </a:r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1DB310-7A6E-463F-8F1B-E51C133F53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A7851A3-7924-47DB-8266-89B486F03506}" type="slidenum">
              <a:rPr lang="en-US" altLang="de-DE" smtClean="0"/>
              <a:pPr/>
              <a:t>5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41524126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527CFA8-4C84-0AC9-7D91-ED8574164D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 lIns="0" tIns="0" rIns="0" bIns="0" anchor="t"/>
          <a:lstStyle/>
          <a:p>
            <a:r>
              <a:rPr lang="en-US" err="1">
                <a:latin typeface="Arial"/>
                <a:cs typeface="Arial"/>
              </a:rPr>
              <a:t>Nutzung</a:t>
            </a:r>
            <a:r>
              <a:rPr lang="en-US">
                <a:latin typeface="Arial"/>
                <a:cs typeface="Arial"/>
              </a:rPr>
              <a:t> der </a:t>
            </a:r>
            <a:r>
              <a:rPr lang="en-US" err="1">
                <a:latin typeface="Arial"/>
                <a:cs typeface="Arial"/>
              </a:rPr>
              <a:t>Kamera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zur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Hinderniserkennung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7EB37E-26AD-D8B9-8735-4FE985F2F68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 lIns="0" tIns="0" rIns="0" bIns="0" anchor="t"/>
          <a:lstStyle/>
          <a:p>
            <a:pPr marL="251460" indent="-251460"/>
            <a:r>
              <a:rPr lang="de-DE">
                <a:latin typeface="Arial"/>
                <a:cs typeface="Arial"/>
              </a:rPr>
              <a:t>Idee: Kantenerkennung von </a:t>
            </a:r>
            <a:r>
              <a:rPr lang="de-DE" err="1">
                <a:latin typeface="Arial"/>
                <a:cs typeface="Arial"/>
              </a:rPr>
              <a:t>OpenCV</a:t>
            </a:r>
            <a:r>
              <a:rPr lang="de-DE">
                <a:latin typeface="Arial"/>
                <a:cs typeface="Arial"/>
              </a:rPr>
              <a:t> nutzen</a:t>
            </a:r>
          </a:p>
          <a:p>
            <a:pPr lvl="2" indent="-175895"/>
            <a:r>
              <a:rPr lang="de-DE">
                <a:latin typeface="Arial"/>
                <a:cs typeface="Arial"/>
              </a:rPr>
              <a:t>Hough Line Transform Algorithmus</a:t>
            </a:r>
          </a:p>
          <a:p>
            <a:pPr marL="251460" indent="-251460"/>
            <a:r>
              <a:rPr lang="de-DE" err="1">
                <a:latin typeface="Arial"/>
                <a:cs typeface="Arial"/>
              </a:rPr>
              <a:t>Näheste</a:t>
            </a:r>
            <a:r>
              <a:rPr lang="de-DE">
                <a:latin typeface="Arial"/>
                <a:cs typeface="Arial"/>
              </a:rPr>
              <a:t> Kante wird in </a:t>
            </a:r>
            <a:r>
              <a:rPr lang="de-DE" err="1">
                <a:latin typeface="Arial"/>
                <a:cs typeface="Arial"/>
              </a:rPr>
              <a:t>Costmap</a:t>
            </a:r>
            <a:r>
              <a:rPr lang="de-DE">
                <a:latin typeface="Arial"/>
                <a:cs typeface="Arial"/>
              </a:rPr>
              <a:t> eingetragen</a:t>
            </a:r>
          </a:p>
          <a:p>
            <a:pPr marL="251460" indent="-251460"/>
            <a:r>
              <a:rPr lang="de-DE">
                <a:latin typeface="Arial"/>
                <a:cs typeface="Arial"/>
              </a:rPr>
              <a:t>Pixelposition in Koordinaten umrechnen:</a:t>
            </a:r>
          </a:p>
          <a:p>
            <a:pPr lvl="2" indent="-175895"/>
            <a:r>
              <a:rPr lang="de-DE">
                <a:latin typeface="Arial"/>
                <a:cs typeface="Arial"/>
              </a:rPr>
              <a:t>Objekt an bekannte Position stellen und Pixelwert ausgeben lassen</a:t>
            </a:r>
          </a:p>
          <a:p>
            <a:pPr lvl="2" indent="-175895"/>
            <a:r>
              <a:rPr lang="de-DE">
                <a:latin typeface="Arial"/>
                <a:cs typeface="Arial"/>
              </a:rPr>
              <a:t>In X- und Y- Richtung</a:t>
            </a:r>
          </a:p>
          <a:p>
            <a:pPr lvl="2" indent="-175895"/>
            <a:r>
              <a:rPr lang="de-DE">
                <a:latin typeface="Arial"/>
                <a:cs typeface="Arial"/>
              </a:rPr>
              <a:t>Regression mit </a:t>
            </a:r>
            <a:r>
              <a:rPr lang="de-DE" err="1">
                <a:latin typeface="Arial"/>
                <a:cs typeface="Arial"/>
              </a:rPr>
              <a:t>Minitab</a:t>
            </a:r>
          </a:p>
          <a:p>
            <a:pPr lvl="2" indent="-175895"/>
            <a:r>
              <a:rPr lang="de-DE">
                <a:latin typeface="Arial"/>
                <a:cs typeface="Arial"/>
              </a:rPr>
              <a:t>Ergebnis: zwei Umrechnungsformeln</a:t>
            </a:r>
          </a:p>
          <a:p>
            <a:pPr marL="251460" indent="-251460">
              <a:buFont typeface="Wingdings"/>
              <a:buChar char="§"/>
            </a:pPr>
            <a:r>
              <a:rPr lang="de-DE">
                <a:latin typeface="Arial"/>
                <a:cs typeface="Arial"/>
              </a:rPr>
              <a:t>Probleme:</a:t>
            </a:r>
          </a:p>
          <a:p>
            <a:pPr lvl="2" indent="-175895"/>
            <a:r>
              <a:rPr lang="de-DE">
                <a:latin typeface="Arial"/>
                <a:cs typeface="Arial"/>
              </a:rPr>
              <a:t>Kamerawinkel darf sich nicht ändern</a:t>
            </a:r>
          </a:p>
          <a:p>
            <a:pPr lvl="2" indent="-175895"/>
            <a:r>
              <a:rPr lang="de-DE">
                <a:latin typeface="Arial"/>
                <a:cs typeface="Arial"/>
              </a:rPr>
              <a:t>Hohe Rechenleistung für Bildübertragung -&gt; Hindernisse zu spät erkannt</a:t>
            </a:r>
          </a:p>
          <a:p>
            <a:pPr lvl="2" indent="-175895"/>
            <a:r>
              <a:rPr lang="de-DE">
                <a:latin typeface="Arial"/>
                <a:cs typeface="Arial"/>
              </a:rPr>
              <a:t>Aufgeklebte Linien werden auch erkannt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89C09C-7EA5-66AC-B843-A64899245E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A7851A3-7924-47DB-8266-89B486F03506}" type="slidenum">
              <a:rPr lang="en-US" altLang="de-DE" smtClean="0"/>
              <a:pPr/>
              <a:t>6</a:t>
            </a:fld>
            <a:endParaRPr lang="en-US" altLang="de-DE"/>
          </a:p>
        </p:txBody>
      </p:sp>
      <p:pic>
        <p:nvPicPr>
          <p:cNvPr id="5" name="Picture 5" descr="A picture containing floor, indoor, cluttered&#10;&#10;Description automatically generated">
            <a:extLst>
              <a:ext uri="{FF2B5EF4-FFF2-40B4-BE49-F238E27FC236}">
                <a16:creationId xmlns:a16="http://schemas.microsoft.com/office/drawing/2014/main" id="{3865EAED-A052-95A3-A07F-6AA98074787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9516" r="-339" b="23410"/>
          <a:stretch/>
        </p:blipFill>
        <p:spPr>
          <a:xfrm>
            <a:off x="7799838" y="1356442"/>
            <a:ext cx="4260131" cy="2653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79104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7A91A6D-7652-DA68-E834-E6DBC7CB1C5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 lIns="0" tIns="0" rIns="0" bIns="0" anchor="t"/>
          <a:lstStyle/>
          <a:p>
            <a:r>
              <a:rPr lang="en-US" dirty="0" err="1">
                <a:latin typeface="Arial"/>
                <a:cs typeface="Arial"/>
              </a:rPr>
              <a:t>Ausblick</a:t>
            </a:r>
            <a:r>
              <a:rPr lang="en-US" dirty="0">
                <a:latin typeface="Arial"/>
                <a:cs typeface="Arial"/>
              </a:rPr>
              <a:t> und </a:t>
            </a:r>
            <a:r>
              <a:rPr lang="en-US" dirty="0" err="1">
                <a:latin typeface="Arial"/>
                <a:cs typeface="Arial"/>
              </a:rPr>
              <a:t>Verbesserungen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7ACEE8-8B18-A071-DD6F-877E8139A85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 lIns="0" tIns="0" rIns="0" bIns="0" anchor="t"/>
          <a:lstStyle/>
          <a:p>
            <a:pPr marL="251460" indent="-251460"/>
            <a:r>
              <a:rPr lang="en-US">
                <a:latin typeface="Arial"/>
                <a:cs typeface="Arial"/>
              </a:rPr>
              <a:t>Kamera </a:t>
            </a:r>
            <a:r>
              <a:rPr lang="en-US" err="1">
                <a:latin typeface="Arial"/>
                <a:cs typeface="Arial"/>
              </a:rPr>
              <a:t>mit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anderer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Auflösung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optimieren</a:t>
            </a:r>
          </a:p>
          <a:p>
            <a:pPr lvl="2" indent="-175895"/>
            <a:r>
              <a:rPr lang="en-US" err="1">
                <a:latin typeface="Arial"/>
                <a:cs typeface="Arial"/>
              </a:rPr>
              <a:t>Kalibrierung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relativ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aufwendig</a:t>
            </a:r>
            <a:endParaRPr lang="en-US">
              <a:latin typeface="Arial"/>
              <a:cs typeface="Arial"/>
            </a:endParaRPr>
          </a:p>
          <a:p>
            <a:pPr marL="251460" indent="-251460"/>
            <a:r>
              <a:rPr lang="en-US">
                <a:latin typeface="Arial"/>
                <a:cs typeface="Arial"/>
              </a:rPr>
              <a:t>"</a:t>
            </a:r>
            <a:r>
              <a:rPr lang="en-US" err="1">
                <a:latin typeface="Arial"/>
                <a:cs typeface="Arial"/>
              </a:rPr>
              <a:t>globale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Punktewolke</a:t>
            </a:r>
            <a:r>
              <a:rPr lang="en-US">
                <a:latin typeface="Arial"/>
                <a:cs typeface="Arial"/>
              </a:rPr>
              <a:t>" </a:t>
            </a:r>
            <a:r>
              <a:rPr lang="en-US" err="1">
                <a:latin typeface="Arial"/>
                <a:cs typeface="Arial"/>
              </a:rPr>
              <a:t>als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zweiten</a:t>
            </a:r>
            <a:r>
              <a:rPr lang="en-US">
                <a:latin typeface="Arial"/>
                <a:cs typeface="Arial"/>
              </a:rPr>
              <a:t> Layer </a:t>
            </a:r>
            <a:r>
              <a:rPr lang="en-US" err="1">
                <a:latin typeface="Arial"/>
                <a:cs typeface="Arial"/>
              </a:rPr>
              <a:t>nutzen</a:t>
            </a:r>
            <a:endParaRPr lang="en-US">
              <a:latin typeface="Arial"/>
              <a:cs typeface="Arial"/>
            </a:endParaRPr>
          </a:p>
          <a:p>
            <a:pPr lvl="2" indent="-175895"/>
            <a:r>
              <a:rPr lang="en-US">
                <a:latin typeface="Arial"/>
                <a:cs typeface="Arial"/>
              </a:rPr>
              <a:t>Es </a:t>
            </a:r>
            <a:r>
              <a:rPr lang="en-US" err="1">
                <a:latin typeface="Arial"/>
                <a:cs typeface="Arial"/>
              </a:rPr>
              <a:t>werden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nicht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nur</a:t>
            </a:r>
            <a:r>
              <a:rPr lang="en-US">
                <a:latin typeface="Arial"/>
                <a:cs typeface="Arial"/>
              </a:rPr>
              <a:t> das </a:t>
            </a:r>
            <a:r>
              <a:rPr lang="en-US" err="1">
                <a:latin typeface="Arial"/>
                <a:cs typeface="Arial"/>
              </a:rPr>
              <a:t>aktuell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erkannte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Hindernis</a:t>
            </a:r>
            <a:r>
              <a:rPr lang="en-US">
                <a:latin typeface="Arial"/>
                <a:cs typeface="Arial"/>
              </a:rPr>
              <a:t>, </a:t>
            </a:r>
            <a:r>
              <a:rPr lang="en-US" err="1">
                <a:latin typeface="Arial"/>
                <a:cs typeface="Arial"/>
              </a:rPr>
              <a:t>sondern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auch</a:t>
            </a:r>
            <a:r>
              <a:rPr lang="en-US">
                <a:latin typeface="Arial"/>
                <a:cs typeface="Arial"/>
              </a:rPr>
              <a:t> die x </a:t>
            </a:r>
            <a:r>
              <a:rPr lang="en-US" err="1">
                <a:latin typeface="Arial"/>
                <a:cs typeface="Arial"/>
              </a:rPr>
              <a:t>letzten</a:t>
            </a:r>
            <a:r>
              <a:rPr lang="en-US">
                <a:latin typeface="Arial"/>
                <a:cs typeface="Arial"/>
              </a:rPr>
              <a:t> </a:t>
            </a:r>
            <a:r>
              <a:rPr lang="en-US" err="1">
                <a:latin typeface="Arial"/>
                <a:cs typeface="Arial"/>
              </a:rPr>
              <a:t>gepublished</a:t>
            </a:r>
            <a:endParaRPr lang="en-US">
              <a:latin typeface="Arial"/>
              <a:cs typeface="Arial"/>
            </a:endParaRPr>
          </a:p>
          <a:p>
            <a:pPr lvl="2" indent="-175895"/>
            <a:r>
              <a:rPr lang="en-US">
                <a:latin typeface="Arial"/>
                <a:cs typeface="Arial"/>
              </a:rPr>
              <a:t>Clearing des Lasers </a:t>
            </a:r>
            <a:r>
              <a:rPr lang="en-US" err="1">
                <a:latin typeface="Arial"/>
                <a:cs typeface="Arial"/>
              </a:rPr>
              <a:t>kann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aktiviert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bleiben</a:t>
            </a:r>
            <a:endParaRPr lang="en-US">
              <a:latin typeface="Arial"/>
              <a:cs typeface="Arial"/>
            </a:endParaRPr>
          </a:p>
          <a:p>
            <a:pPr lvl="2" indent="-175895"/>
            <a:r>
              <a:rPr lang="en-US">
                <a:latin typeface="Arial"/>
                <a:cs typeface="Arial"/>
              </a:rPr>
              <a:t>Weiter </a:t>
            </a:r>
            <a:r>
              <a:rPr lang="en-US" err="1">
                <a:latin typeface="Arial"/>
                <a:cs typeface="Arial"/>
              </a:rPr>
              <a:t>entfernte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Hindernisse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können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manuel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aus</a:t>
            </a:r>
            <a:r>
              <a:rPr lang="en-US">
                <a:latin typeface="Arial"/>
                <a:cs typeface="Arial"/>
              </a:rPr>
              <a:t> der Wolke </a:t>
            </a:r>
            <a:r>
              <a:rPr lang="en-US" err="1">
                <a:latin typeface="Arial"/>
                <a:cs typeface="Arial"/>
              </a:rPr>
              <a:t>entfernt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werden</a:t>
            </a:r>
          </a:p>
          <a:p>
            <a:pPr lvl="2" indent="-175895"/>
            <a:r>
              <a:rPr lang="en-US" err="1">
                <a:latin typeface="Arial"/>
                <a:cs typeface="Arial"/>
              </a:rPr>
              <a:t>Umrechnen</a:t>
            </a:r>
            <a:r>
              <a:rPr lang="en-US">
                <a:latin typeface="Arial"/>
                <a:cs typeface="Arial"/>
              </a:rPr>
              <a:t> der Position </a:t>
            </a:r>
            <a:r>
              <a:rPr lang="en-US" err="1">
                <a:latin typeface="Arial"/>
                <a:cs typeface="Arial"/>
              </a:rPr>
              <a:t>erforderlich</a:t>
            </a:r>
            <a:r>
              <a:rPr lang="en-US">
                <a:latin typeface="Arial"/>
                <a:cs typeface="Arial"/>
              </a:rPr>
              <a:t>, </a:t>
            </a:r>
            <a:r>
              <a:rPr lang="en-US" err="1">
                <a:latin typeface="Arial"/>
                <a:cs typeface="Arial"/>
              </a:rPr>
              <a:t>Punkte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beziehen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sich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 err="1">
                <a:latin typeface="Arial"/>
                <a:cs typeface="Arial"/>
              </a:rPr>
              <a:t>immer</a:t>
            </a:r>
            <a:r>
              <a:rPr lang="en-US">
                <a:latin typeface="Arial"/>
                <a:cs typeface="Arial"/>
              </a:rPr>
              <a:t> auf den Rob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9D17F0-6404-4F19-4D81-90B1FBAE29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A7851A3-7924-47DB-8266-89B486F03506}" type="slidenum">
              <a:rPr lang="en-US" altLang="de-DE" smtClean="0"/>
              <a:pPr/>
              <a:t>7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4133710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 descr="Ein Bild, das Hydrozoen, Nachthimmel, Meeresgrund enthält.&#10;&#10;Automatisch generierte Beschreibung">
            <a:extLst>
              <a:ext uri="{FF2B5EF4-FFF2-40B4-BE49-F238E27FC236}">
                <a16:creationId xmlns:a16="http://schemas.microsoft.com/office/drawing/2014/main" id="{E5460FD6-C713-47ED-996D-E482F766CF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4607" y="2255415"/>
            <a:ext cx="12487564" cy="5404701"/>
          </a:xfrm>
          <a:prstGeom prst="rect">
            <a:avLst/>
          </a:prstGeom>
        </p:spPr>
      </p:pic>
      <p:pic>
        <p:nvPicPr>
          <p:cNvPr id="16" name="Grafik 15" descr="Ein Bild, das Hydrozoen, Nachthimmel, Meeresgrund enthält.&#10;&#10;Automatisch generierte Beschreibung">
            <a:extLst>
              <a:ext uri="{FF2B5EF4-FFF2-40B4-BE49-F238E27FC236}">
                <a16:creationId xmlns:a16="http://schemas.microsoft.com/office/drawing/2014/main" id="{8AD07ACF-86E5-4FEF-84C6-B1A1165F61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4607" y="-297266"/>
            <a:ext cx="12589164" cy="5404701"/>
          </a:xfrm>
          <a:prstGeom prst="rect">
            <a:avLst/>
          </a:prstGeom>
        </p:spPr>
      </p:pic>
      <p:pic>
        <p:nvPicPr>
          <p:cNvPr id="14" name="Grafik 13" descr="Ein Bild, das Hydrozoen, Nachthimmel, Meeresgrund enthält.&#10;&#10;Automatisch generierte Beschreibung">
            <a:extLst>
              <a:ext uri="{FF2B5EF4-FFF2-40B4-BE49-F238E27FC236}">
                <a16:creationId xmlns:a16="http://schemas.microsoft.com/office/drawing/2014/main" id="{943482CC-143B-4760-A708-169EE1667E0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797244"/>
            <a:ext cx="12192000" cy="5404701"/>
          </a:xfrm>
          <a:prstGeom prst="rect">
            <a:avLst/>
          </a:prstGeom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DAFEF5A-B272-40FF-BEB9-6A05B1F177E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943836" y="4714180"/>
            <a:ext cx="7639267" cy="465271"/>
          </a:xfrm>
        </p:spPr>
        <p:txBody>
          <a:bodyPr>
            <a:noAutofit/>
          </a:bodyPr>
          <a:lstStyle/>
          <a:p>
            <a:pPr>
              <a:spcAft>
                <a:spcPts val="600"/>
              </a:spcAft>
            </a:pPr>
            <a:r>
              <a:rPr lang="de-DE" sz="2000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0" scaled="0"/>
                </a:gradFill>
              </a:rPr>
              <a:t> Marco Kathage	        Hendrik Reuling	    Sören Schütze</a:t>
            </a:r>
            <a:br>
              <a:rPr lang="de-DE" sz="500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0" scaled="0"/>
                </a:gradFill>
              </a:rPr>
            </a:br>
            <a:br>
              <a:rPr lang="de-DE" sz="500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0" scaled="0"/>
                </a:gradFill>
              </a:rPr>
            </a:br>
            <a:endParaRPr lang="de-DE" sz="50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0" scaled="0"/>
              </a:gra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65AB4DA-73F2-47F5-B317-5B5DAB61B87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631199" y="1280648"/>
            <a:ext cx="7657287" cy="806450"/>
          </a:xfrm>
          <a:noFill/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de-DE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0" scaled="0"/>
                </a:gradFill>
              </a:rPr>
              <a:t>Vielen Dank für Ihre Aufmerksamkeit!</a:t>
            </a:r>
          </a:p>
        </p:txBody>
      </p:sp>
      <p:pic>
        <p:nvPicPr>
          <p:cNvPr id="7" name="Grafik 6" descr="Ein Bild, das Person, Wand, Mann, drinnen enthält.&#10;&#10;Automatisch generierte Beschreibung">
            <a:extLst>
              <a:ext uri="{FF2B5EF4-FFF2-40B4-BE49-F238E27FC236}">
                <a16:creationId xmlns:a16="http://schemas.microsoft.com/office/drawing/2014/main" id="{10F440E3-D00A-4BE1-BA23-7F07B820D65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6016" b="99319" l="3026" r="97731">
                        <a14:foregroundMark x1="25567" y1="38706" x2="25113" y2="22474"/>
                        <a14:foregroundMark x1="25113" y1="22474" x2="37519" y2="8059"/>
                        <a14:foregroundMark x1="37519" y1="8059" x2="59455" y2="7605"/>
                        <a14:foregroundMark x1="59455" y1="7605" x2="75794" y2="19183"/>
                        <a14:foregroundMark x1="75794" y1="19183" x2="79236" y2="27106"/>
                        <a14:foregroundMark x1="79526" y1="38690" x2="77610" y2="41430"/>
                        <a14:foregroundMark x1="23147" y1="77526" x2="5295" y2="87060"/>
                        <a14:foregroundMark x1="5295" y1="87060" x2="25719" y2="95346"/>
                        <a14:foregroundMark x1="25719" y1="95346" x2="44024" y2="86039"/>
                        <a14:foregroundMark x1="44024" y1="86039" x2="22390" y2="91373"/>
                        <a14:foregroundMark x1="22390" y1="91373" x2="46747" y2="92736"/>
                        <a14:foregroundMark x1="46747" y1="92736" x2="70651" y2="89444"/>
                        <a14:foregroundMark x1="70651" y1="89444" x2="92284" y2="93417"/>
                        <a14:foregroundMark x1="92284" y1="93417" x2="79425" y2="79796"/>
                        <a14:foregroundMark x1="79425" y1="79796" x2="77610" y2="79001"/>
                        <a14:foregroundMark x1="38427" y1="90125" x2="16036" y2="92509"/>
                        <a14:foregroundMark x1="16036" y1="92509" x2="70953" y2="99432"/>
                        <a14:foregroundMark x1="70953" y1="99432" x2="80030" y2="99092"/>
                        <a14:foregroundMark x1="6808" y1="86833" x2="6051" y2="92168"/>
                        <a14:foregroundMark x1="6354" y1="88876" x2="3177" y2="87968"/>
                        <a14:foregroundMark x1="97731" y1="91260" x2="96520" y2="90125"/>
                        <a14:foregroundMark x1="95613" y1="89784" x2="94100" y2="88649"/>
                        <a14:foregroundMark x1="60968" y1="6016" x2="73071" y2="14642"/>
                        <a14:backgroundMark x1="81543" y1="30533" x2="80484" y2="38025"/>
                        <a14:backgroundMark x1="80182" y1="27128" x2="80030" y2="30760"/>
                        <a14:backgroundMark x1="80484" y1="36436" x2="78971" y2="38479"/>
                      </a14:backgroundRemoval>
                    </a14:imgEffect>
                    <a14:imgEffect>
                      <a14:saturation sat="8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9358" y="2284209"/>
            <a:ext cx="1717837" cy="2289583"/>
          </a:xfrm>
          <a:prstGeom prst="rect">
            <a:avLst/>
          </a:prstGeom>
        </p:spPr>
      </p:pic>
      <p:pic>
        <p:nvPicPr>
          <p:cNvPr id="10" name="Grafik 9" descr="Ein Bild, das Person, drinnen, lächelnd, darstellend enthält.&#10;&#10;Automatisch generierte Beschreibung">
            <a:extLst>
              <a:ext uri="{FF2B5EF4-FFF2-40B4-BE49-F238E27FC236}">
                <a16:creationId xmlns:a16="http://schemas.microsoft.com/office/drawing/2014/main" id="{CFD8D85B-35B2-4F01-8A0E-2012337CD4E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5365" b="99571" l="3577" r="99857">
                        <a14:foregroundMark x1="25894" y1="37124" x2="26853" y2="23858"/>
                        <a14:foregroundMark x1="33053" y1="13230" x2="41059" y2="4936"/>
                        <a14:foregroundMark x1="41059" y1="4936" x2="63376" y2="9120"/>
                        <a14:foregroundMark x1="63376" y1="9120" x2="76681" y2="24356"/>
                        <a14:foregroundMark x1="76681" y1="24356" x2="77825" y2="41738"/>
                        <a14:foregroundMark x1="77825" y1="41738" x2="78112" y2="41953"/>
                        <a14:foregroundMark x1="42203" y1="8798" x2="64950" y2="8262"/>
                        <a14:foregroundMark x1="64950" y1="8262" x2="67382" y2="8906"/>
                        <a14:foregroundMark x1="50501" y1="5472" x2="29614" y2="11695"/>
                        <a14:foregroundMark x1="29614" y1="11695" x2="29614" y2="12150"/>
                        <a14:foregroundMark x1="31020" y1="12591" x2="31474" y2="11910"/>
                        <a14:foregroundMark x1="25894" y1="72961" x2="25158" y2="73254"/>
                        <a14:foregroundMark x1="4069" y1="83668" x2="2432" y2="99249"/>
                        <a14:foregroundMark x1="2432" y1="99249" x2="25751" y2="93348"/>
                        <a14:foregroundMark x1="25751" y1="93348" x2="74821" y2="98069"/>
                        <a14:foregroundMark x1="74821" y1="98069" x2="97711" y2="93348"/>
                        <a14:foregroundMark x1="97711" y1="93348" x2="85980" y2="78433"/>
                        <a14:foregroundMark x1="85980" y1="78433" x2="78112" y2="72961"/>
                        <a14:foregroundMark x1="14306" y1="83906" x2="13305" y2="93670"/>
                        <a14:foregroundMark x1="15165" y1="86373" x2="3577" y2="87554"/>
                        <a14:foregroundMark x1="4149" y1="97103" x2="84549" y2="99571"/>
                        <a14:foregroundMark x1="84549" y1="99571" x2="99857" y2="99142"/>
                        <a14:foregroundMark x1="30329" y1="94099" x2="11445" y2="81438"/>
                        <a14:foregroundMark x1="11445" y1="81438" x2="24750" y2="89270"/>
                        <a14:foregroundMark x1="26037" y1="28112" x2="31044" y2="11695"/>
                        <a14:foregroundMark x1="31044" y1="11695" x2="34764" y2="11052"/>
                        <a14:foregroundMark x1="28040" y1="20923" x2="34764" y2="11159"/>
                        <a14:foregroundMark x1="31187" y1="12017" x2="28898" y2="24034"/>
                        <a14:foregroundMark x1="40057" y1="7833" x2="49785" y2="5579"/>
                        <a14:foregroundMark x1="49785" y1="6009" x2="71531" y2="11481"/>
                        <a14:foregroundMark x1="71531" y1="11481" x2="74106" y2="14056"/>
                        <a14:foregroundMark x1="75250" y1="15129" x2="77110" y2="25966"/>
                        <a14:foregroundMark x1="79256" y1="20923" x2="77969" y2="15558"/>
                        <a14:foregroundMark x1="76681" y1="18777" x2="77682" y2="14700"/>
                        <a14:backgroundMark x1="2861" y1="73283" x2="5866" y2="72425"/>
                        <a14:backgroundMark x1="4578" y1="72318" x2="22318" y2="72532"/>
                        <a14:backgroundMark x1="16023" y1="67382" x2="12017" y2="70923"/>
                        <a14:backgroundMark x1="13305" y1="75322" x2="25894" y2="72210"/>
                        <a14:backgroundMark x1="14020" y1="75966" x2="858" y2="81545"/>
                        <a14:backgroundMark x1="20458" y1="74142" x2="14592" y2="77146"/>
                        <a14:backgroundMark x1="20744" y1="74034" x2="21316" y2="74356"/>
                        <a14:backgroundMark x1="4435" y1="81974" x2="2718" y2="82403"/>
                        <a14:backgroundMark x1="21173" y1="74249" x2="22031" y2="75215"/>
                        <a14:backgroundMark x1="27553" y1="18195" x2="22175" y2="27253"/>
                      </a14:backgroundRemoval>
                    </a14:imgEffect>
                    <a14:imgEffect>
                      <a14:saturation sat="8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2758" y="2255415"/>
            <a:ext cx="1717837" cy="2290449"/>
          </a:xfrm>
          <a:prstGeom prst="rect">
            <a:avLst/>
          </a:prstGeom>
        </p:spPr>
      </p:pic>
      <p:pic>
        <p:nvPicPr>
          <p:cNvPr id="18" name="Grafik 17" descr="Ein Bild, das Person, Mann, Brille, tragen enthält.&#10;&#10;Automatisch generierte Beschreibung">
            <a:extLst>
              <a:ext uri="{FF2B5EF4-FFF2-40B4-BE49-F238E27FC236}">
                <a16:creationId xmlns:a16="http://schemas.microsoft.com/office/drawing/2014/main" id="{89FCC6F6-778B-4558-880D-A9157340452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5272" b="98642" l="0" r="99681">
                        <a14:foregroundMark x1="30671" y1="10064" x2="58892" y2="9265"/>
                        <a14:foregroundMark x1="58892" y1="9265" x2="62407" y2="10383"/>
                        <a14:foregroundMark x1="60383" y1="8706" x2="39191" y2="5272"/>
                        <a14:foregroundMark x1="3570" y1="74660" x2="0" y2="76518"/>
                        <a14:foregroundMark x1="27476" y1="62220" x2="26026" y2="62974"/>
                        <a14:foregroundMark x1="15335" y1="77157" x2="27476" y2="77875"/>
                        <a14:foregroundMark x1="29712" y1="71805" x2="5112" y2="81789"/>
                        <a14:foregroundMark x1="5112" y1="81789" x2="29606" y2="81629"/>
                        <a14:foregroundMark x1="5857" y1="82188" x2="11289" y2="80671"/>
                        <a14:foregroundMark x1="30671" y1="76597" x2="56443" y2="85304"/>
                        <a14:foregroundMark x1="56443" y1="85304" x2="64643" y2="64776"/>
                        <a14:foregroundMark x1="64643" y1="64776" x2="87966" y2="77077"/>
                        <a14:foregroundMark x1="87966" y1="77077" x2="99787" y2="79712"/>
                        <a14:foregroundMark x1="98722" y1="82029" x2="79446" y2="97125"/>
                        <a14:foregroundMark x1="79446" y1="97125" x2="17252" y2="98642"/>
                        <a14:foregroundMark x1="17252" y1="98642" x2="426" y2="81629"/>
                        <a14:foregroundMark x1="426" y1="81629" x2="31310" y2="84265"/>
                        <a14:foregroundMark x1="31310" y1="84265" x2="91693" y2="81230"/>
                        <a14:foregroundMark x1="91693" y1="81230" x2="96273" y2="84425"/>
                        <a14:backgroundMark x1="21406" y1="61502" x2="5538" y2="70927"/>
                        <a14:backgroundMark x1="8307" y1="70128" x2="23323" y2="64297"/>
                        <a14:backgroundMark x1="24707" y1="62220" x2="24920" y2="65016"/>
                        <a14:backgroundMark x1="21832" y1="64856" x2="6496" y2="71246"/>
                        <a14:backgroundMark x1="12354" y1="71406" x2="5538" y2="72764"/>
                        <a14:backgroundMark x1="12567" y1="71486" x2="2982" y2="74121"/>
                        <a14:backgroundMark x1="20660" y1="63898" x2="25666" y2="64137"/>
                      </a14:backgroundRemoval>
                    </a14:imgEffect>
                    <a14:imgEffect>
                      <a14:saturation sat="88000"/>
                    </a14:imgEffect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5958" y="2283342"/>
            <a:ext cx="1717837" cy="229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9001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1"/>
  <p:tag name="MIO_CHANGETRACKING" val="true"/>
  <p:tag name="MIO_EK" val="579970"/>
  <p:tag name="MIO_UPDATE" val="True"/>
  <p:tag name="MIO_VERSION" val="17.02.2016 14:13:20"/>
  <p:tag name="MIO_DBID" val="598A5C07-C27D-430B-A8FC-FA667BE665A4"/>
  <p:tag name="MIO_LASTDOWNLOADED" val="15.07.2016 13:45:49"/>
  <p:tag name="MIO_OBJECTNAME" val="DE 16:9 - Siemens"/>
  <p:tag name="MIO_LASTEDITORNAME" val="(Dietmar Kluge)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6"/>
  <p:tag name="MIO_SHOW_DATE" val="True"/>
  <p:tag name="MIO_SHOW_FOOTER" val="True"/>
  <p:tag name="MIO_SHOW_PAGENUMBER" val="True"/>
  <p:tag name="MIO_AVOID_BLANK_LAYOUT" val="True"/>
  <p:tag name="MIO_NUMBER_OF_VALID_LAYOUTS" val="23"/>
  <p:tag name="MIO_MST_COLOR_1" val="0,0,0,Dunkel 1"/>
  <p:tag name="MIO_MST_COLOR_2" val="255,255,255,Hell 1"/>
  <p:tag name="MIO_MST_COLOR_3" val="0,0,0,Dunkel 2"/>
  <p:tag name="MIO_MST_COLOR_4" val="173,190,203,Hell 2"/>
  <p:tag name="MIO_MST_COLOR_5" val="135,155,170,Akzent 1"/>
  <p:tag name="MIO_MST_COLOR_6" val="190,205,215,Akzent 2"/>
  <p:tag name="MIO_MST_COLOR_7" val="235,120,10,Akzent 3"/>
  <p:tag name="MIO_MST_COLOR_8" val="100,25,70,Akzent 4"/>
  <p:tag name="MIO_MST_COLOR_9" val="0,95,135,Akzent 5"/>
  <p:tag name="MIO_MST_COLOR_10" val="100,125,45,Akzent 6"/>
  <p:tag name="MIO_MST_COLOR_11" val="235,120,10,"/>
  <p:tag name="MIO_MST_COLOR_12" val="100,25,70,"/>
  <p:tag name="MIO_HDS" val="True"/>
  <p:tag name="MIO_EK" val="579030"/>
  <p:tag name="MIO_UPDATE" val="True"/>
  <p:tag name="MIO_VERSION" val="27.01.2016 18:24:05"/>
  <p:tag name="MIO_DBID" val="598A5C07-C27D-430B-A8FC-FA667BE665A4"/>
  <p:tag name="MIO_LASTDOWNLOADED" val="27.01.2016 18:36:41"/>
  <p:tag name="MIO_OBJECTNAME" val="DE 16:9 - Siemens 201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6"/>
  <p:tag name="MIO_SHOW_DATE" val="True"/>
  <p:tag name="MIO_SHOW_FOOTER" val="True"/>
  <p:tag name="MIO_SHOW_PAGENUMBER" val="True"/>
  <p:tag name="MIO_AVOID_BLANK_LAYOUT" val="True"/>
  <p:tag name="MIO_NUMBER_OF_VALID_LAYOUTS" val="23"/>
  <p:tag name="MIO_MST_COLOR_1" val="0,0,0,Dunkel 1"/>
  <p:tag name="MIO_MST_COLOR_2" val="255,255,255,Hell 1"/>
  <p:tag name="MIO_MST_COLOR_3" val="0,0,0,Dunkel 2"/>
  <p:tag name="MIO_MST_COLOR_4" val="173,190,203,Hell 2"/>
  <p:tag name="MIO_MST_COLOR_5" val="135,155,170,Akzent 1"/>
  <p:tag name="MIO_MST_COLOR_6" val="190,205,215,Akzent 2"/>
  <p:tag name="MIO_MST_COLOR_7" val="235,120,10,Akzent 3"/>
  <p:tag name="MIO_MST_COLOR_8" val="100,25,70,Akzent 4"/>
  <p:tag name="MIO_MST_COLOR_9" val="0,95,135,Akzent 5"/>
  <p:tag name="MIO_MST_COLOR_10" val="100,125,45,Akzent 6"/>
  <p:tag name="MIO_MST_COLOR_11" val="235,120,10,"/>
  <p:tag name="MIO_MST_COLOR_12" val="100,25,70,"/>
  <p:tag name="MIO_HDS" val="True"/>
  <p:tag name="MIO_EK" val="579030"/>
  <p:tag name="MIO_UPDATE" val="True"/>
  <p:tag name="MIO_VERSION" val="27.01.2016 18:24:05"/>
  <p:tag name="MIO_DBID" val="598A5C07-C27D-430B-A8FC-FA667BE665A4"/>
  <p:tag name="MIO_LASTDOWNLOADED" val="27.01.2016 18:36:41"/>
  <p:tag name="MIO_OBJECTNAME" val="DE 16:9 - Siemens 201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heme/theme1.xml><?xml version="1.0" encoding="utf-8"?>
<a:theme xmlns:a="http://schemas.openxmlformats.org/drawingml/2006/main" name="1_Flender Titelfolien">
  <a:themeElements>
    <a:clrScheme name="Flender">
      <a:dk1>
        <a:srgbClr val="000000"/>
      </a:dk1>
      <a:lt1>
        <a:srgbClr val="FFFFFF"/>
      </a:lt1>
      <a:dk2>
        <a:srgbClr val="227DC6"/>
      </a:dk2>
      <a:lt2>
        <a:srgbClr val="FFFFFF"/>
      </a:lt2>
      <a:accent1>
        <a:srgbClr val="227DC6"/>
      </a:accent1>
      <a:accent2>
        <a:srgbClr val="90B3E2"/>
      </a:accent2>
      <a:accent3>
        <a:srgbClr val="E0ECFA"/>
      </a:accent3>
      <a:accent4>
        <a:srgbClr val="C6C9CC"/>
      </a:accent4>
      <a:accent5>
        <a:srgbClr val="919699"/>
      </a:accent5>
      <a:accent6>
        <a:srgbClr val="697075"/>
      </a:accent6>
      <a:hlink>
        <a:srgbClr val="CBA021"/>
      </a:hlink>
      <a:folHlink>
        <a:srgbClr val="880822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FL-blue-100%">
      <a:srgbClr val="227DC6"/>
    </a:custClr>
    <a:custClr name="FL-blue-80%">
      <a:srgbClr val="6095D3"/>
    </a:custClr>
    <a:custClr name="FL-blue-60%">
      <a:srgbClr val="90B3E2"/>
    </a:custClr>
    <a:custClr name="FL-blue-40%">
      <a:srgbClr val="BACFEF"/>
    </a:custClr>
    <a:custClr name="FL-blue-20%">
      <a:srgbClr val="E0ECFA"/>
    </a:custClr>
    <a:custClr name="FL-darkgrey">
      <a:srgbClr val="697075"/>
    </a:custClr>
    <a:custClr name="FL-mediumgrey">
      <a:srgbClr val="919699"/>
    </a:custClr>
    <a:custClr name="FL-lightgrey">
      <a:srgbClr val="C6C9CC"/>
    </a:custClr>
    <a:custClr name="FL-darkblue-100%">
      <a:srgbClr val="003E62"/>
    </a:custClr>
    <a:custClr name="FL-green-100%">
      <a:srgbClr val="839545"/>
    </a:custClr>
    <a:custClr name="FL-orange-100%">
      <a:srgbClr val="CBA021"/>
    </a:custClr>
    <a:custClr name="FL-red-100%">
      <a:srgbClr val="880840"/>
    </a:custClr>
    <a:custClr name="White">
      <a:srgbClr val="FFFFFF"/>
    </a:custClr>
    <a:custClr name="Black">
      <a:srgbClr val="000000"/>
    </a:custClr>
  </a:custClrLst>
</a:theme>
</file>

<file path=ppt/theme/theme2.xml><?xml version="1.0" encoding="utf-8"?>
<a:theme xmlns:a="http://schemas.openxmlformats.org/drawingml/2006/main" name="2_Flender Titelfolien">
  <a:themeElements>
    <a:clrScheme name="Flender">
      <a:dk1>
        <a:srgbClr val="227DC6"/>
      </a:dk1>
      <a:lt1>
        <a:srgbClr val="6095D3"/>
      </a:lt1>
      <a:dk2>
        <a:srgbClr val="697075"/>
      </a:dk2>
      <a:lt2>
        <a:srgbClr val="919699"/>
      </a:lt2>
      <a:accent1>
        <a:srgbClr val="003E62"/>
      </a:accent1>
      <a:accent2>
        <a:srgbClr val="839545"/>
      </a:accent2>
      <a:accent3>
        <a:srgbClr val="CBA021"/>
      </a:accent3>
      <a:accent4>
        <a:srgbClr val="880822"/>
      </a:accent4>
      <a:accent5>
        <a:srgbClr val="BACFEF"/>
      </a:accent5>
      <a:accent6>
        <a:srgbClr val="C6C9CC"/>
      </a:accent6>
      <a:hlink>
        <a:srgbClr val="90B3E2"/>
      </a:hlink>
      <a:folHlink>
        <a:srgbClr val="880822"/>
      </a:folHlink>
    </a:clrScheme>
    <a:fontScheme name="Flend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??????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FL-blue-100%">
      <a:srgbClr val="227DC6"/>
    </a:custClr>
    <a:custClr name="FL-blue-80%">
      <a:srgbClr val="6095D3"/>
    </a:custClr>
    <a:custClr name="FL-blue-60%">
      <a:srgbClr val="90B3E2"/>
    </a:custClr>
    <a:custClr name="FL-blue-40%">
      <a:srgbClr val="BACFEF"/>
    </a:custClr>
    <a:custClr name="FL-blue-20%">
      <a:srgbClr val="E0ECFA"/>
    </a:custClr>
    <a:custClr name="FL-darkgrey">
      <a:srgbClr val="697075"/>
    </a:custClr>
    <a:custClr name="FL-mediumgrey">
      <a:srgbClr val="919699"/>
    </a:custClr>
    <a:custClr name="FL-lightgrey">
      <a:srgbClr val="C6C9CC"/>
    </a:custClr>
    <a:custClr name="FL-darkblue-100%">
      <a:srgbClr val="003E62"/>
    </a:custClr>
    <a:custClr name="FL-green-100%">
      <a:srgbClr val="839545"/>
    </a:custClr>
    <a:custClr name="FL-orange-100%">
      <a:srgbClr val="CBA021"/>
    </a:custClr>
    <a:custClr name="FL-red-100%">
      <a:srgbClr val="880840"/>
    </a:custClr>
    <a:custClr name="White">
      <a:srgbClr val="FFFFFF"/>
    </a:custClr>
    <a:custClr name="Black">
      <a:srgbClr val="000000"/>
    </a:custClr>
  </a:custClrLst>
</a:theme>
</file>

<file path=ppt/theme/theme3.xml><?xml version="1.0" encoding="utf-8"?>
<a:theme xmlns:a="http://schemas.openxmlformats.org/drawingml/2006/main" name="3_Flender Titelfolien">
  <a:themeElements>
    <a:clrScheme name="Flender">
      <a:dk1>
        <a:srgbClr val="000000"/>
      </a:dk1>
      <a:lt1>
        <a:srgbClr val="FFFFFF"/>
      </a:lt1>
      <a:dk2>
        <a:srgbClr val="227DC6"/>
      </a:dk2>
      <a:lt2>
        <a:srgbClr val="FFFFFF"/>
      </a:lt2>
      <a:accent1>
        <a:srgbClr val="227DC6"/>
      </a:accent1>
      <a:accent2>
        <a:srgbClr val="90B3E2"/>
      </a:accent2>
      <a:accent3>
        <a:srgbClr val="E0ECFA"/>
      </a:accent3>
      <a:accent4>
        <a:srgbClr val="C6C9CC"/>
      </a:accent4>
      <a:accent5>
        <a:srgbClr val="919699"/>
      </a:accent5>
      <a:accent6>
        <a:srgbClr val="697075"/>
      </a:accent6>
      <a:hlink>
        <a:srgbClr val="CBA021"/>
      </a:hlink>
      <a:folHlink>
        <a:srgbClr val="880822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FL-blue-100%">
      <a:srgbClr val="227DC6"/>
    </a:custClr>
    <a:custClr name="FL-blue-80%">
      <a:srgbClr val="6095D3"/>
    </a:custClr>
    <a:custClr name="FL-blue-60%">
      <a:srgbClr val="90B3E2"/>
    </a:custClr>
    <a:custClr name="FL-blue-40%">
      <a:srgbClr val="BACFEF"/>
    </a:custClr>
    <a:custClr name="FL-blue-20%">
      <a:srgbClr val="E0ECFA"/>
    </a:custClr>
    <a:custClr name="FL-darkgrey">
      <a:srgbClr val="697075"/>
    </a:custClr>
    <a:custClr name="FL-mediumgrey">
      <a:srgbClr val="919699"/>
    </a:custClr>
    <a:custClr name="FL-lightgrey">
      <a:srgbClr val="C6C9CC"/>
    </a:custClr>
    <a:custClr name="FL-darkblue-100%">
      <a:srgbClr val="003E62"/>
    </a:custClr>
    <a:custClr name="FL-green-100%">
      <a:srgbClr val="839545"/>
    </a:custClr>
    <a:custClr name="FL-orange-100%">
      <a:srgbClr val="CBA021"/>
    </a:custClr>
    <a:custClr name="FL-red-100%">
      <a:srgbClr val="880840"/>
    </a:custClr>
    <a:custClr name="White">
      <a:srgbClr val="FFFFFF"/>
    </a:custClr>
    <a:custClr name="Black">
      <a:srgbClr val="000000"/>
    </a:custClr>
  </a:custClrLst>
</a:theme>
</file>

<file path=ppt/theme/theme4.xml><?xml version="1.0" encoding="utf-8"?>
<a:theme xmlns:a="http://schemas.openxmlformats.org/drawingml/2006/main" name="4_Flender Titelfolien">
  <a:themeElements>
    <a:clrScheme name="Flender">
      <a:dk1>
        <a:srgbClr val="000000"/>
      </a:dk1>
      <a:lt1>
        <a:srgbClr val="FFFFFF"/>
      </a:lt1>
      <a:dk2>
        <a:srgbClr val="227DC6"/>
      </a:dk2>
      <a:lt2>
        <a:srgbClr val="FFFFFF"/>
      </a:lt2>
      <a:accent1>
        <a:srgbClr val="227DC6"/>
      </a:accent1>
      <a:accent2>
        <a:srgbClr val="90B3E2"/>
      </a:accent2>
      <a:accent3>
        <a:srgbClr val="E0ECFA"/>
      </a:accent3>
      <a:accent4>
        <a:srgbClr val="C6C9CC"/>
      </a:accent4>
      <a:accent5>
        <a:srgbClr val="919699"/>
      </a:accent5>
      <a:accent6>
        <a:srgbClr val="697075"/>
      </a:accent6>
      <a:hlink>
        <a:srgbClr val="CBA021"/>
      </a:hlink>
      <a:folHlink>
        <a:srgbClr val="880822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FL-blue-100%">
      <a:srgbClr val="227DC6"/>
    </a:custClr>
    <a:custClr name="FL-blue-80%">
      <a:srgbClr val="6095D3"/>
    </a:custClr>
    <a:custClr name="FL-blue-60%">
      <a:srgbClr val="90B3E2"/>
    </a:custClr>
    <a:custClr name="FL-blue-40%">
      <a:srgbClr val="BACFEF"/>
    </a:custClr>
    <a:custClr name="FL-blue-20%">
      <a:srgbClr val="E0ECFA"/>
    </a:custClr>
    <a:custClr name="FL-darkgrey">
      <a:srgbClr val="697075"/>
    </a:custClr>
    <a:custClr name="FL-mediumgrey">
      <a:srgbClr val="919699"/>
    </a:custClr>
    <a:custClr name="FL-lightgrey">
      <a:srgbClr val="C6C9CC"/>
    </a:custClr>
    <a:custClr name="FL-darkblue-100%">
      <a:srgbClr val="003E62"/>
    </a:custClr>
    <a:custClr name="FL-green-100%">
      <a:srgbClr val="839545"/>
    </a:custClr>
    <a:custClr name="FL-orange-100%">
      <a:srgbClr val="CBA021"/>
    </a:custClr>
    <a:custClr name="FL-red-100%">
      <a:srgbClr val="880840"/>
    </a:custClr>
    <a:custClr name="White">
      <a:srgbClr val="FFFFFF"/>
    </a:custClr>
    <a:custClr name="Black">
      <a:srgbClr val="000000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ree Content + Navigation</Name>
  <PpLayout>32</PpLayout>
  <Index>16</Index>
</p4ppTags>
</file>

<file path=customXml/item10.xml><?xml version="1.0" encoding="utf-8"?>
<p4ppTags>
  <Name>Four objects</Name>
  <PpLayout>24</PpLayout>
  <Index>15</Index>
</p4ppTags>
</file>

<file path=customXml/item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.xml><?xml version="1.0" encoding="utf-8"?>
<p4ppTags>
  <Name>Free Content</Name>
  <PpLayout>11</PpLayout>
  <Index>9</Index>
</p4ppTags>
</file>

<file path=customXml/item13.xml><?xml version="1.0" encoding="utf-8"?>
<p4ppTags>
  <Name>Text + Index</Name>
  <PpLayout>32</PpLayout>
  <Index>8</Index>
</p4ppTags>
</file>

<file path=customXml/item14.xml><?xml version="1.0" encoding="utf-8"?>
<p4ppTags>
  <Name>One object (large) + Navigation</Name>
  <PpLayout>32</PpLayout>
  <Index>17</Index>
</p4ppTags>
</file>

<file path=customXml/item15.xml><?xml version="1.0" encoding="utf-8"?>
<p4ppTags/>
</file>

<file path=customXml/item16.xml><?xml version="1.0" encoding="utf-8"?>
<p4ppTags>
  <Name>Four objects + Navigation</Name>
  <PpLayout>32</PpLayout>
  <Index>22</Index>
</p4ppTags>
</file>

<file path=customXml/item17.xml><?xml version="1.0" encoding="utf-8"?>
<p4ppTags>
  <Name>Two columns + Navigation</Name>
  <PpLayout>32</PpLayout>
  <Index>19</Index>
</p4ppTags>
</file>

<file path=customXml/item18.xml><?xml version="1.0" encoding="utf-8"?>
<p4ppTags>
  <Name>Two rows</Name>
  <PpLayout>32</PpLayout>
  <Index>13</Index>
</p4ppTags>
</file>

<file path=customXml/item19.xml><?xml version="1.0" encoding="utf-8"?>
<p4ppTags>
  <Name>Four objects</Name>
  <PpLayout>24</PpLayout>
  <Index>15</Index>
</p4ppTags>
</file>

<file path=customXml/item2.xml><?xml version="1.0" encoding="utf-8"?>
<p4ppTags>
  <Name>Two rows</Name>
  <PpLayout>32</PpLayout>
  <Index>13</Index>
</p4ppTags>
</file>

<file path=customXml/item20.xml><?xml version="1.0" encoding="utf-8"?>
<p4ppTags>
  <Name>One object (small) + Navigation</Name>
  <PpLayout>32</PpLayout>
  <Index>18</Index>
</p4ppTags>
</file>

<file path=customXml/item21.xml><?xml version="1.0" encoding="utf-8"?>
<p4ppTags>
  <Name>Four objects + Navigation</Name>
  <PpLayout>32</PpLayout>
  <Index>22</Index>
</p4ppTags>
</file>

<file path=customXml/item22.xml><?xml version="1.0" encoding="utf-8"?>
<p4ppTags>
  <Name>Text + Index</Name>
  <PpLayout>32</PpLayout>
  <Index>8</Index>
</p4ppTags>
</file>

<file path=customXml/item23.xml><?xml version="1.0" encoding="utf-8"?>
<p4ppTags>
  <Name>Text + Index</Name>
  <PpLayout>32</PpLayout>
  <Index>8</Index>
</p4ppTags>
</file>

<file path=customXml/item24.xml><?xml version="1.0" encoding="utf-8"?>
<p4ppTags>
  <Name>Two rows + Navigation</Name>
  <PpLayout>32</PpLayout>
  <Index>21</Index>
</p4ppTags>
</file>

<file path=customXml/item25.xml><?xml version="1.0" encoding="utf-8"?>
<p4ppTags>
  <Name>One object (small) + Navigation</Name>
  <PpLayout>32</PpLayout>
  <Index>18</Index>
</p4ppTags>
</file>

<file path=customXml/item26.xml><?xml version="1.0" encoding="utf-8"?>
<p4ppTags>
  <Name>Text + Index</Name>
  <PpLayout>32</PpLayout>
  <Index>8</Index>
</p4ppTags>
</file>

<file path=customXml/item27.xml><?xml version="1.0" encoding="utf-8"?>
<p4ppTags>
  <Name>Four objects</Name>
  <PpLayout>24</PpLayout>
  <Index>15</Index>
</p4ppTags>
</file>

<file path=customXml/item28.xml><?xml version="1.0" encoding="utf-8"?>
<p4ppTags>
  <Name>One object (large)</Name>
  <PpLayout>16</PpLayout>
  <Index>10</Index>
</p4ppTags>
</file>

<file path=customXml/item29.xml><?xml version="1.0" encoding="utf-8"?>
<p4ppTags>
  <Name>One object (small) + Navigation</Name>
  <PpLayout>32</PpLayout>
  <Index>18</Index>
</p4ppTags>
</file>

<file path=customXml/item3.xml><?xml version="1.0" encoding="utf-8"?>
<p4ppTags>
  <Name>One object (small) + Navigation</Name>
  <PpLayout>32</PpLayout>
  <Index>18</Index>
</p4ppTags>
</file>

<file path=customXml/item30.xml><?xml version="1.0" encoding="utf-8"?>
<p4ppTags>
  <Name>One object (large)</Name>
  <PpLayout>16</PpLayout>
  <Index>10</Index>
</p4ppTags>
</file>

<file path=customXml/item31.xml><?xml version="1.0" encoding="utf-8"?>
<p4ppTags>
  <Name>Four objects</Name>
  <PpLayout>24</PpLayout>
  <Index>15</Index>
</p4ppTags>
</file>

<file path=customXml/item32.xml><?xml version="1.0" encoding="utf-8"?>
<p4ppTags>
  <Name>One object (large)</Name>
  <PpLayout>16</PpLayout>
  <Index>10</Index>
</p4ppTags>
</file>

<file path=customXml/item33.xml><?xml version="1.0" encoding="utf-8"?>
<p4ppTags>
  <Name>Two rows + Navigation</Name>
  <PpLayout>32</PpLayout>
  <Index>21</Index>
</p4ppTags>
</file>

<file path=customXml/item34.xml><?xml version="1.0" encoding="utf-8"?>
<p4ppTags>
  <Name>Three columns</Name>
  <PpLayout>32</PpLayout>
  <Index>14</Index>
</p4ppTags>
</file>

<file path=customXml/item35.xml><?xml version="1.0" encoding="utf-8"?>
<p4ppTags>
  <Name>One object (large) + Navigation</Name>
  <PpLayout>32</PpLayout>
  <Index>17</Index>
</p4ppTags>
</file>

<file path=customXml/item36.xml><?xml version="1.0" encoding="utf-8"?>
<p4ppTags>
  <Name>One object (small)</Name>
  <PpLayout>16</PpLayout>
  <Index>11</Index>
</p4ppTags>
</file>

<file path=customXml/item37.xml><?xml version="1.0" encoding="utf-8"?>
<p4ppTags>
  <Name>Three columns + Navigation</Name>
  <PpLayout>32</PpLayout>
  <Index>20</Index>
</p4ppTags>
</file>

<file path=customXml/item38.xml><?xml version="1.0" encoding="utf-8"?>
<p4ppTags/>
</file>

<file path=customXml/item39.xml><?xml version="1.0" encoding="utf-8"?>
<p4ppTags>
  <Name>Free Content</Name>
  <PpLayout>11</PpLayout>
  <Index>9</Index>
</p4ppTags>
</file>

<file path=customXml/item4.xml><?xml version="1.0" encoding="utf-8"?>
<p4ppTags>
  <Name>Three columns + Navigation</Name>
  <PpLayout>32</PpLayout>
  <Index>20</Index>
</p4ppTags>
</file>

<file path=customXml/item40.xml><?xml version="1.0" encoding="utf-8"?>
<p4ppTags>
  <Name>Two columns</Name>
  <PpLayout>29</PpLayout>
  <Index>12</Index>
</p4ppTags>
</file>

<file path=customXml/item41.xml><?xml version="1.0" encoding="utf-8"?>
<p4ppTags>
  <Name>Text + Index</Name>
  <PpLayout>32</PpLayout>
  <Index>8</Index>
</p4ppTags>
</file>

<file path=customXml/item42.xml><?xml version="1.0" encoding="utf-8"?>
<p4ppTags>
  <Name>Two columns + Navigation</Name>
  <PpLayout>32</PpLayout>
  <Index>19</Index>
</p4ppTags>
</file>

<file path=customXml/item43.xml><?xml version="1.0" encoding="utf-8"?>
<p4ppTags>
  <Name>Free Content</Name>
  <PpLayout>11</PpLayout>
  <Index>9</Index>
</p4ppTags>
</file>

<file path=customXml/item44.xml><?xml version="1.0" encoding="utf-8"?>
<p4ppTags>
  <Name>One object (small)</Name>
  <PpLayout>16</PpLayout>
  <Index>11</Index>
</p4ppTags>
</file>

<file path=customXml/item45.xml><?xml version="1.0" encoding="utf-8"?>
<p4ppTags>
  <Name>Four objects + Navigation</Name>
  <PpLayout>32</PpLayout>
  <Index>22</Index>
</p4ppTags>
</file>

<file path=customXml/item46.xml><?xml version="1.0" encoding="utf-8"?>
<p4ppTags>
  <Name>Two columns</Name>
  <PpLayout>29</PpLayout>
  <Index>12</Index>
</p4ppTags>
</file>

<file path=customXml/item4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8.xml><?xml version="1.0" encoding="utf-8"?>
<ct:contentTypeSchema xmlns:ct="http://schemas.microsoft.com/office/2006/metadata/contentType" xmlns:ma="http://schemas.microsoft.com/office/2006/metadata/properties/metaAttributes" ct:_="" ma:_="" ma:contentTypeName="Bild" ma:contentTypeID="0x010102008EB5F522EE2179408CDCE96C77CDCA36" ma:contentTypeVersion="0" ma:contentTypeDescription="Ein Bild oder eine Fotografie hochladen." ma:contentTypeScope="" ma:versionID="f285f0b77ecc539f0bb371a78a533f5a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120b762c041c54e781508cff00f22b96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ImageWidth" minOccurs="0"/>
                <xsd:element ref="ns1:ImageHeight" minOccurs="0"/>
                <xsd:element ref="ns1:ImageCreateDate" minOccurs="0"/>
                <xsd:element ref="ns1:Description" minOccurs="0"/>
                <xsd:element ref="ns1:ThumbnailExists" minOccurs="0"/>
                <xsd:element ref="ns1:PreviewExists" minOccurs="0"/>
                <xsd:element ref="ns1:AlternateThumbnailUr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ImageWidth" ma:index="11" nillable="true" ma:displayName="Bildbreite" ma:internalName="ImageWidth" ma:readOnly="true">
      <xsd:simpleType>
        <xsd:restriction base="dms:Unknown"/>
      </xsd:simpleType>
    </xsd:element>
    <xsd:element name="ImageHeight" ma:index="12" nillable="true" ma:displayName="Bildhöhe" ma:internalName="ImageHeight" ma:readOnly="true">
      <xsd:simpleType>
        <xsd:restriction base="dms:Unknown"/>
      </xsd:simpleType>
    </xsd:element>
    <xsd:element name="ImageCreateDate" ma:index="13" nillable="true" ma:displayName="Bilderstellungsdatum" ma:format="DateTime" ma:hidden="true" ma:internalName="ImageCreateDate">
      <xsd:simpleType>
        <xsd:restriction base="dms:DateTime"/>
      </xsd:simpleType>
    </xsd:element>
    <xsd:element name="Description" ma:index="14" nillable="true" ma:displayName="Beschreibung" ma:description="Wird als Alternativtext für das Bild verwendet." ma:hidden="true" ma:internalName="Description">
      <xsd:simpleType>
        <xsd:restriction base="dms:Note">
          <xsd:maxLength value="255"/>
        </xsd:restriction>
      </xsd:simpleType>
    </xsd:element>
    <xsd:element name="ThumbnailExists" ma:index="23" nillable="true" ma:displayName="Miniaturansicht vorhanden" ma:default="FALSE" ma:hidden="true" ma:internalName="ThumbnailExists" ma:readOnly="true">
      <xsd:simpleType>
        <xsd:restriction base="dms:Boolean"/>
      </xsd:simpleType>
    </xsd:element>
    <xsd:element name="PreviewExists" ma:index="24" nillable="true" ma:displayName="Vorschau vorhanden" ma:default="FALSE" ma:hidden="true" ma:internalName="PreviewExists" ma:readOnly="true">
      <xsd:simpleType>
        <xsd:restriction base="dms:Boolean"/>
      </xsd:simpleType>
    </xsd:element>
    <xsd:element name="AlternateThumbnailUrl" ma:index="25" nillable="true" ma:displayName="Vorschaubild-URL" ma:format="Image" ma:hidden="true" ma:internalName="AlternateThumbnailUrl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8" ma:displayName="Titel"/>
        <xsd:element ref="dc:subject" minOccurs="0" maxOccurs="1"/>
        <xsd:element ref="dc:description" minOccurs="0" maxOccurs="1"/>
        <xsd:element name="keywords" minOccurs="0" maxOccurs="1" type="xsd:string" ma:index="20" ma:displayName="Schlüsselwörter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lternateThumbnailUrl xmlns="http://schemas.microsoft.com/sharepoint/v3">
      <Url xsi:nil="true"/>
      <Description xsi:nil="true"/>
    </AlternateThumbnailUrl>
    <ImageCreateDate xmlns="http://schemas.microsoft.com/sharepoint/v3" xsi:nil="true"/>
    <Description xmlns="http://schemas.microsoft.com/sharepoint/v3" xsi:nil="true"/>
  </documentManagement>
</p:properties>
</file>

<file path=customXml/item5.xml><?xml version="1.0" encoding="utf-8"?>
<p4ppTags>
  <Name>Free Content + Navigation</Name>
  <PpLayout>32</PpLayout>
  <Index>16</Index>
</p4ppTags>
</file>

<file path=customXml/item6.xml><?xml version="1.0" encoding="utf-8"?>
<p4ppTags>
  <Name>Three columns</Name>
  <PpLayout>32</PpLayout>
  <Index>14</Index>
</p4ppTags>
</file>

<file path=customXml/item7.xml><?xml version="1.0" encoding="utf-8"?>
<p4ppTags>
  <Name>Four objects + Navigation</Name>
  <PpLayout>32</PpLayout>
  <Index>22</Index>
</p4ppTags>
</file>

<file path=customXml/item8.xml><?xml version="1.0" encoding="utf-8"?>
<p4ppTags>
  <Name>Free Content + Navigation</Name>
  <PpLayout>32</PpLayout>
  <Index>16</Index>
</p4ppTags>
</file>

<file path=customXml/item9.xml><?xml version="1.0" encoding="utf-8"?>
<p4ppTags>
  <Name>One object (large) + Navigation</Name>
  <PpLayout>32</PpLayout>
  <Index>17</Index>
</p4ppTags>
</file>

<file path=customXml/itemProps1.xml><?xml version="1.0" encoding="utf-8"?>
<ds:datastoreItem xmlns:ds="http://schemas.openxmlformats.org/officeDocument/2006/customXml" ds:itemID="{844B3BAE-C710-4301-8F19-C4939F5E6C03}">
  <ds:schemaRefs/>
</ds:datastoreItem>
</file>

<file path=customXml/itemProps10.xml><?xml version="1.0" encoding="utf-8"?>
<ds:datastoreItem xmlns:ds="http://schemas.openxmlformats.org/officeDocument/2006/customXml" ds:itemID="{01724334-0230-43D9-A338-9A6674F7E76B}">
  <ds:schemaRefs/>
</ds:datastoreItem>
</file>

<file path=customXml/itemProps11.xml><?xml version="1.0" encoding="utf-8"?>
<ds:datastoreItem xmlns:ds="http://schemas.openxmlformats.org/officeDocument/2006/customXml" ds:itemID="{4B4BD230-965C-4449-90BE-D5A82DB2AE44}">
  <ds:schemaRefs>
    <ds:schemaRef ds:uri="http://schemas.microsoft.com/sharepoint/v3/contenttype/forms"/>
  </ds:schemaRefs>
</ds:datastoreItem>
</file>

<file path=customXml/itemProps12.xml><?xml version="1.0" encoding="utf-8"?>
<ds:datastoreItem xmlns:ds="http://schemas.openxmlformats.org/officeDocument/2006/customXml" ds:itemID="{1032321B-8E16-492D-B443-67716A6DC16D}">
  <ds:schemaRefs/>
</ds:datastoreItem>
</file>

<file path=customXml/itemProps13.xml><?xml version="1.0" encoding="utf-8"?>
<ds:datastoreItem xmlns:ds="http://schemas.openxmlformats.org/officeDocument/2006/customXml" ds:itemID="{F26BF11F-11CE-4468-9B29-5381BA3896EF}">
  <ds:schemaRefs/>
</ds:datastoreItem>
</file>

<file path=customXml/itemProps14.xml><?xml version="1.0" encoding="utf-8"?>
<ds:datastoreItem xmlns:ds="http://schemas.openxmlformats.org/officeDocument/2006/customXml" ds:itemID="{DF06C1C7-74EE-4276-9A6B-6DB954A8A2DB}">
  <ds:schemaRefs/>
</ds:datastoreItem>
</file>

<file path=customXml/itemProps15.xml><?xml version="1.0" encoding="utf-8"?>
<ds:datastoreItem xmlns:ds="http://schemas.openxmlformats.org/officeDocument/2006/customXml" ds:itemID="{572FBA73-6DBF-45DA-8282-9342320CFAB0}">
  <ds:schemaRefs/>
</ds:datastoreItem>
</file>

<file path=customXml/itemProps16.xml><?xml version="1.0" encoding="utf-8"?>
<ds:datastoreItem xmlns:ds="http://schemas.openxmlformats.org/officeDocument/2006/customXml" ds:itemID="{41CCB898-6BC5-4E82-B032-41DA4C6DA685}">
  <ds:schemaRefs/>
</ds:datastoreItem>
</file>

<file path=customXml/itemProps17.xml><?xml version="1.0" encoding="utf-8"?>
<ds:datastoreItem xmlns:ds="http://schemas.openxmlformats.org/officeDocument/2006/customXml" ds:itemID="{D7BABA95-BFFE-422B-8591-3271669EEA88}">
  <ds:schemaRefs/>
</ds:datastoreItem>
</file>

<file path=customXml/itemProps18.xml><?xml version="1.0" encoding="utf-8"?>
<ds:datastoreItem xmlns:ds="http://schemas.openxmlformats.org/officeDocument/2006/customXml" ds:itemID="{01E219AD-E7E9-46A8-978F-F3D5677772F7}">
  <ds:schemaRefs/>
</ds:datastoreItem>
</file>

<file path=customXml/itemProps19.xml><?xml version="1.0" encoding="utf-8"?>
<ds:datastoreItem xmlns:ds="http://schemas.openxmlformats.org/officeDocument/2006/customXml" ds:itemID="{852B9EF6-0D64-45A5-B116-711E7B640C61}">
  <ds:schemaRefs/>
</ds:datastoreItem>
</file>

<file path=customXml/itemProps2.xml><?xml version="1.0" encoding="utf-8"?>
<ds:datastoreItem xmlns:ds="http://schemas.openxmlformats.org/officeDocument/2006/customXml" ds:itemID="{38AB8DE4-FD9B-4166-BEC3-3F1753596133}">
  <ds:schemaRefs/>
</ds:datastoreItem>
</file>

<file path=customXml/itemProps20.xml><?xml version="1.0" encoding="utf-8"?>
<ds:datastoreItem xmlns:ds="http://schemas.openxmlformats.org/officeDocument/2006/customXml" ds:itemID="{5E396725-9907-4BEF-AED3-53B31F94D162}">
  <ds:schemaRefs/>
</ds:datastoreItem>
</file>

<file path=customXml/itemProps21.xml><?xml version="1.0" encoding="utf-8"?>
<ds:datastoreItem xmlns:ds="http://schemas.openxmlformats.org/officeDocument/2006/customXml" ds:itemID="{EAB520BC-C6EC-457E-8AB5-55DB67C86858}">
  <ds:schemaRefs/>
</ds:datastoreItem>
</file>

<file path=customXml/itemProps22.xml><?xml version="1.0" encoding="utf-8"?>
<ds:datastoreItem xmlns:ds="http://schemas.openxmlformats.org/officeDocument/2006/customXml" ds:itemID="{E3380EE4-9761-4ED1-948E-D24773C23618}">
  <ds:schemaRefs/>
</ds:datastoreItem>
</file>

<file path=customXml/itemProps23.xml><?xml version="1.0" encoding="utf-8"?>
<ds:datastoreItem xmlns:ds="http://schemas.openxmlformats.org/officeDocument/2006/customXml" ds:itemID="{8E679A1C-59DF-447D-B1B5-4292F99625CE}">
  <ds:schemaRefs/>
</ds:datastoreItem>
</file>

<file path=customXml/itemProps24.xml><?xml version="1.0" encoding="utf-8"?>
<ds:datastoreItem xmlns:ds="http://schemas.openxmlformats.org/officeDocument/2006/customXml" ds:itemID="{6C79E4F8-DCFB-483C-880A-AEEC6AAFC838}">
  <ds:schemaRefs/>
</ds:datastoreItem>
</file>

<file path=customXml/itemProps25.xml><?xml version="1.0" encoding="utf-8"?>
<ds:datastoreItem xmlns:ds="http://schemas.openxmlformats.org/officeDocument/2006/customXml" ds:itemID="{D46F0270-1190-4E3E-ADC0-A4C89DC6A23D}">
  <ds:schemaRefs/>
</ds:datastoreItem>
</file>

<file path=customXml/itemProps26.xml><?xml version="1.0" encoding="utf-8"?>
<ds:datastoreItem xmlns:ds="http://schemas.openxmlformats.org/officeDocument/2006/customXml" ds:itemID="{7E35FEDB-1F0E-4D67-A313-4AC59C26FF29}">
  <ds:schemaRefs/>
</ds:datastoreItem>
</file>

<file path=customXml/itemProps27.xml><?xml version="1.0" encoding="utf-8"?>
<ds:datastoreItem xmlns:ds="http://schemas.openxmlformats.org/officeDocument/2006/customXml" ds:itemID="{1581BFFB-B4CE-47A8-BE77-DC1339B1E5A7}">
  <ds:schemaRefs/>
</ds:datastoreItem>
</file>

<file path=customXml/itemProps28.xml><?xml version="1.0" encoding="utf-8"?>
<ds:datastoreItem xmlns:ds="http://schemas.openxmlformats.org/officeDocument/2006/customXml" ds:itemID="{A0DA68F1-0C27-4B9B-8770-063E2F0245F0}">
  <ds:schemaRefs/>
</ds:datastoreItem>
</file>

<file path=customXml/itemProps29.xml><?xml version="1.0" encoding="utf-8"?>
<ds:datastoreItem xmlns:ds="http://schemas.openxmlformats.org/officeDocument/2006/customXml" ds:itemID="{B9FD75A0-8963-4268-8BB2-68319927415D}">
  <ds:schemaRefs/>
</ds:datastoreItem>
</file>

<file path=customXml/itemProps3.xml><?xml version="1.0" encoding="utf-8"?>
<ds:datastoreItem xmlns:ds="http://schemas.openxmlformats.org/officeDocument/2006/customXml" ds:itemID="{D9FE249F-833E-4CF0-BECB-552D01D7DC9E}">
  <ds:schemaRefs/>
</ds:datastoreItem>
</file>

<file path=customXml/itemProps30.xml><?xml version="1.0" encoding="utf-8"?>
<ds:datastoreItem xmlns:ds="http://schemas.openxmlformats.org/officeDocument/2006/customXml" ds:itemID="{623A027E-FA1B-4E40-ABA3-27E1D8D5B860}">
  <ds:schemaRefs/>
</ds:datastoreItem>
</file>

<file path=customXml/itemProps31.xml><?xml version="1.0" encoding="utf-8"?>
<ds:datastoreItem xmlns:ds="http://schemas.openxmlformats.org/officeDocument/2006/customXml" ds:itemID="{2286C891-E1E5-489F-89C3-7EF132500CA1}">
  <ds:schemaRefs/>
</ds:datastoreItem>
</file>

<file path=customXml/itemProps32.xml><?xml version="1.0" encoding="utf-8"?>
<ds:datastoreItem xmlns:ds="http://schemas.openxmlformats.org/officeDocument/2006/customXml" ds:itemID="{80661B8B-A327-44F9-823B-4D9EE0B3EC78}">
  <ds:schemaRefs/>
</ds:datastoreItem>
</file>

<file path=customXml/itemProps33.xml><?xml version="1.0" encoding="utf-8"?>
<ds:datastoreItem xmlns:ds="http://schemas.openxmlformats.org/officeDocument/2006/customXml" ds:itemID="{93163C92-B9EB-4DBA-828D-312DCC4C1410}">
  <ds:schemaRefs/>
</ds:datastoreItem>
</file>

<file path=customXml/itemProps34.xml><?xml version="1.0" encoding="utf-8"?>
<ds:datastoreItem xmlns:ds="http://schemas.openxmlformats.org/officeDocument/2006/customXml" ds:itemID="{15CF3461-70D1-4B54-AFAB-DAFDA0A238CD}">
  <ds:schemaRefs/>
</ds:datastoreItem>
</file>

<file path=customXml/itemProps35.xml><?xml version="1.0" encoding="utf-8"?>
<ds:datastoreItem xmlns:ds="http://schemas.openxmlformats.org/officeDocument/2006/customXml" ds:itemID="{B27F640E-84DF-4F97-BC70-D045F1E6594F}">
  <ds:schemaRefs/>
</ds:datastoreItem>
</file>

<file path=customXml/itemProps36.xml><?xml version="1.0" encoding="utf-8"?>
<ds:datastoreItem xmlns:ds="http://schemas.openxmlformats.org/officeDocument/2006/customXml" ds:itemID="{4FD15F83-82E1-4EEB-AC77-C167D007E53A}">
  <ds:schemaRefs/>
</ds:datastoreItem>
</file>

<file path=customXml/itemProps37.xml><?xml version="1.0" encoding="utf-8"?>
<ds:datastoreItem xmlns:ds="http://schemas.openxmlformats.org/officeDocument/2006/customXml" ds:itemID="{604A1C26-2A7F-4716-AC37-CF66CF17A178}">
  <ds:schemaRefs/>
</ds:datastoreItem>
</file>

<file path=customXml/itemProps38.xml><?xml version="1.0" encoding="utf-8"?>
<ds:datastoreItem xmlns:ds="http://schemas.openxmlformats.org/officeDocument/2006/customXml" ds:itemID="{1674DD19-E9FE-471B-AB71-6AEABBC9F9E0}">
  <ds:schemaRefs/>
</ds:datastoreItem>
</file>

<file path=customXml/itemProps39.xml><?xml version="1.0" encoding="utf-8"?>
<ds:datastoreItem xmlns:ds="http://schemas.openxmlformats.org/officeDocument/2006/customXml" ds:itemID="{6DEBB134-AEA1-4183-B01D-33F890EEC98A}">
  <ds:schemaRefs/>
</ds:datastoreItem>
</file>

<file path=customXml/itemProps4.xml><?xml version="1.0" encoding="utf-8"?>
<ds:datastoreItem xmlns:ds="http://schemas.openxmlformats.org/officeDocument/2006/customXml" ds:itemID="{85D77EE6-52B7-48BE-9EDB-748F1EBB53DE}">
  <ds:schemaRefs/>
</ds:datastoreItem>
</file>

<file path=customXml/itemProps40.xml><?xml version="1.0" encoding="utf-8"?>
<ds:datastoreItem xmlns:ds="http://schemas.openxmlformats.org/officeDocument/2006/customXml" ds:itemID="{7EC9F8E0-B44B-4294-99D1-9A61D90AFA57}">
  <ds:schemaRefs/>
</ds:datastoreItem>
</file>

<file path=customXml/itemProps41.xml><?xml version="1.0" encoding="utf-8"?>
<ds:datastoreItem xmlns:ds="http://schemas.openxmlformats.org/officeDocument/2006/customXml" ds:itemID="{19134194-BE48-42AD-A3BA-0F3F553401A9}">
  <ds:schemaRefs/>
</ds:datastoreItem>
</file>

<file path=customXml/itemProps42.xml><?xml version="1.0" encoding="utf-8"?>
<ds:datastoreItem xmlns:ds="http://schemas.openxmlformats.org/officeDocument/2006/customXml" ds:itemID="{01BCD006-2301-4376-8C9A-0124472EE261}">
  <ds:schemaRefs/>
</ds:datastoreItem>
</file>

<file path=customXml/itemProps43.xml><?xml version="1.0" encoding="utf-8"?>
<ds:datastoreItem xmlns:ds="http://schemas.openxmlformats.org/officeDocument/2006/customXml" ds:itemID="{D8097D0C-BE3E-4AEC-9593-65CFCCB19297}">
  <ds:schemaRefs/>
</ds:datastoreItem>
</file>

<file path=customXml/itemProps44.xml><?xml version="1.0" encoding="utf-8"?>
<ds:datastoreItem xmlns:ds="http://schemas.openxmlformats.org/officeDocument/2006/customXml" ds:itemID="{1618AA06-B22E-4D19-9680-0D7830426729}">
  <ds:schemaRefs/>
</ds:datastoreItem>
</file>

<file path=customXml/itemProps45.xml><?xml version="1.0" encoding="utf-8"?>
<ds:datastoreItem xmlns:ds="http://schemas.openxmlformats.org/officeDocument/2006/customXml" ds:itemID="{8947488F-8677-4371-A7B9-A9F5E958F934}">
  <ds:schemaRefs/>
</ds:datastoreItem>
</file>

<file path=customXml/itemProps46.xml><?xml version="1.0" encoding="utf-8"?>
<ds:datastoreItem xmlns:ds="http://schemas.openxmlformats.org/officeDocument/2006/customXml" ds:itemID="{1666F4C2-68F5-4840-A44A-1A646C0925A1}">
  <ds:schemaRefs/>
</ds:datastoreItem>
</file>

<file path=customXml/itemProps47.xml><?xml version="1.0" encoding="utf-8"?>
<ds:datastoreItem xmlns:ds="http://schemas.openxmlformats.org/officeDocument/2006/customXml" ds:itemID="{31508D28-3564-4A34-9FA2-BC4724A768B3}">
  <ds:schemaRefs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48.xml><?xml version="1.0" encoding="utf-8"?>
<ds:datastoreItem xmlns:ds="http://schemas.openxmlformats.org/officeDocument/2006/customXml" ds:itemID="{E8D79500-C9F7-4501-8BA3-37BC83D92368}">
  <ds:schemaRefs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49.xml><?xml version="1.0" encoding="utf-8"?>
<ds:datastoreItem xmlns:ds="http://schemas.openxmlformats.org/officeDocument/2006/customXml" ds:itemID="{25CE6EFA-39D8-4B1C-B136-0913876F4D92}">
  <ds:schemaRefs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5.xml><?xml version="1.0" encoding="utf-8"?>
<ds:datastoreItem xmlns:ds="http://schemas.openxmlformats.org/officeDocument/2006/customXml" ds:itemID="{E989E348-BB5E-4CA7-B1F5-7E2A4307A8FD}">
  <ds:schemaRefs/>
</ds:datastoreItem>
</file>

<file path=customXml/itemProps6.xml><?xml version="1.0" encoding="utf-8"?>
<ds:datastoreItem xmlns:ds="http://schemas.openxmlformats.org/officeDocument/2006/customXml" ds:itemID="{60452D37-A223-4B79-877E-518976911313}">
  <ds:schemaRefs/>
</ds:datastoreItem>
</file>

<file path=customXml/itemProps7.xml><?xml version="1.0" encoding="utf-8"?>
<ds:datastoreItem xmlns:ds="http://schemas.openxmlformats.org/officeDocument/2006/customXml" ds:itemID="{061F0155-14B7-4732-8F16-EC26530538C0}">
  <ds:schemaRefs/>
</ds:datastoreItem>
</file>

<file path=customXml/itemProps8.xml><?xml version="1.0" encoding="utf-8"?>
<ds:datastoreItem xmlns:ds="http://schemas.openxmlformats.org/officeDocument/2006/customXml" ds:itemID="{7CC5F709-E74B-4E5F-A728-923D5062EBEF}">
  <ds:schemaRefs/>
</ds:datastoreItem>
</file>

<file path=customXml/itemProps9.xml><?xml version="1.0" encoding="utf-8"?>
<ds:datastoreItem xmlns:ds="http://schemas.openxmlformats.org/officeDocument/2006/customXml" ds:itemID="{E396ED11-9990-4631-9B63-D320ECD4883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70</Words>
  <Application>Microsoft Macintosh PowerPoint</Application>
  <PresentationFormat>Benutzerdefiniert</PresentationFormat>
  <Paragraphs>73</Paragraphs>
  <Slides>8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8</vt:i4>
      </vt:variant>
    </vt:vector>
  </HeadingPairs>
  <TitlesOfParts>
    <vt:vector size="12" baseType="lpstr">
      <vt:lpstr>Arial</vt:lpstr>
      <vt:lpstr>Wingdings</vt:lpstr>
      <vt:lpstr>1_Flender Titelfolien</vt:lpstr>
      <vt:lpstr>2_Flender Titelfolie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lender-Template_DE_lange Version_16x9</dc:title>
  <dc:creator>romen;lina.willmes@siemens.com;rieke.stening@siemens.com</dc:creator>
  <cp:keywords>C_Restricted</cp:keywords>
  <cp:lastModifiedBy>Hendrik Reuling</cp:lastModifiedBy>
  <cp:revision>876</cp:revision>
  <cp:lastPrinted>2016-09-30T11:13:28Z</cp:lastPrinted>
  <dcterms:created xsi:type="dcterms:W3CDTF">2006-04-07T10:01:45Z</dcterms:created>
  <dcterms:modified xsi:type="dcterms:W3CDTF">2023-03-29T10:51:18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_AdHocReviewCycleID">
    <vt:i4>-481152320</vt:i4>
  </property>
  <property fmtid="{D5CDD505-2E9C-101B-9397-08002B2CF9AE}" pid="7" name="_NewReviewCycle">
    <vt:lpwstr/>
  </property>
  <property fmtid="{D5CDD505-2E9C-101B-9397-08002B2CF9AE}" pid="8" name="_EmailSubject">
    <vt:lpwstr>Flender-Logo als Vektorgrafik</vt:lpwstr>
  </property>
  <property fmtid="{D5CDD505-2E9C-101B-9397-08002B2CF9AE}" pid="9" name="_AuthorEmail">
    <vt:lpwstr>mandy.deckers@siemens.com</vt:lpwstr>
  </property>
  <property fmtid="{D5CDD505-2E9C-101B-9397-08002B2CF9AE}" pid="10" name="_AuthorEmailDisplayName">
    <vt:lpwstr>Deckers, Mandy (PD MD ST&amp;MK)</vt:lpwstr>
  </property>
  <property fmtid="{D5CDD505-2E9C-101B-9397-08002B2CF9AE}" pid="11" name="_PreviousAdHocReviewCycleID">
    <vt:i4>-777230464</vt:i4>
  </property>
  <property fmtid="{D5CDD505-2E9C-101B-9397-08002B2CF9AE}" pid="12" name="Document Confidentiality">
    <vt:lpwstr>Restricted</vt:lpwstr>
  </property>
  <property fmtid="{D5CDD505-2E9C-101B-9397-08002B2CF9AE}" pid="13" name="Document_Confidentiality">
    <vt:lpwstr>Restricted</vt:lpwstr>
  </property>
  <property fmtid="{D5CDD505-2E9C-101B-9397-08002B2CF9AE}" pid="14" name="sodocoClasLang">
    <vt:lpwstr>Intern</vt:lpwstr>
  </property>
  <property fmtid="{D5CDD505-2E9C-101B-9397-08002B2CF9AE}" pid="15" name="sodocoClasLangId">
    <vt:i4>2</vt:i4>
  </property>
  <property fmtid="{D5CDD505-2E9C-101B-9397-08002B2CF9AE}" pid="16" name="sodocoClasId">
    <vt:i4>1</vt:i4>
  </property>
  <property fmtid="{D5CDD505-2E9C-101B-9397-08002B2CF9AE}" pid="17" name="ContentTypeId">
    <vt:lpwstr>0x010102008EB5F522EE2179408CDCE96C77CDCA36</vt:lpwstr>
  </property>
</Properties>
</file>